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1" r:id="rId2"/>
  </p:sldMasterIdLst>
  <p:notesMasterIdLst>
    <p:notesMasterId r:id="rId18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76" d="100"/>
          <a:sy n="76" d="100"/>
        </p:scale>
        <p:origin x="-120" y="-4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notesMaster" Target="notesMasters/notes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119EB9-12BF-4C4A-B87B-549D9B5DF26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E0D14A-7B0F-4211-8777-8B18832C3FB1}">
      <dgm:prSet phldrT="[Text]" custT="1"/>
      <dgm:spPr/>
      <dgm:t>
        <a:bodyPr/>
        <a:lstStyle/>
        <a:p>
          <a:r>
            <a:rPr lang="en-US" sz="2000" dirty="0" smtClean="0"/>
            <a:t>MEASURE EFFECTIVE TEACHING</a:t>
          </a:r>
          <a:endParaRPr lang="en-US" sz="2000" dirty="0"/>
        </a:p>
      </dgm:t>
    </dgm:pt>
    <dgm:pt modelId="{7B1AC613-2959-46FB-9EFF-CF47A0324854}" type="parTrans" cxnId="{B5AB5C19-BCB8-4F6D-8B75-FEA9DD94A41B}">
      <dgm:prSet/>
      <dgm:spPr/>
      <dgm:t>
        <a:bodyPr/>
        <a:lstStyle/>
        <a:p>
          <a:endParaRPr lang="en-US" sz="1400"/>
        </a:p>
      </dgm:t>
    </dgm:pt>
    <dgm:pt modelId="{60E46969-D991-43BA-B9E5-CDCD78F2D05F}" type="sibTrans" cxnId="{B5AB5C19-BCB8-4F6D-8B75-FEA9DD94A41B}">
      <dgm:prSet/>
      <dgm:spPr/>
      <dgm:t>
        <a:bodyPr/>
        <a:lstStyle/>
        <a:p>
          <a:endParaRPr lang="en-US" sz="1400"/>
        </a:p>
      </dgm:t>
    </dgm:pt>
    <dgm:pt modelId="{3BBBE2AC-7AE3-4290-9B94-0CCD6A51DF25}">
      <dgm:prSet phldrT="[Text]" custT="1"/>
      <dgm:spPr/>
      <dgm:t>
        <a:bodyPr/>
        <a:lstStyle/>
        <a:p>
          <a:r>
            <a:rPr lang="en-US" sz="1600" dirty="0" smtClean="0"/>
            <a:t>Set Expectations </a:t>
          </a:r>
          <a:r>
            <a:rPr lang="en-US" sz="1600" dirty="0" smtClean="0">
              <a:sym typeface="Wingdings"/>
            </a:rPr>
            <a:t></a:t>
          </a:r>
          <a:endParaRPr lang="en-US" sz="1600" dirty="0"/>
        </a:p>
      </dgm:t>
    </dgm:pt>
    <dgm:pt modelId="{619488B0-8D7D-42A6-A2DF-07D6BE56B7F5}" type="parTrans" cxnId="{26705E2E-7167-4073-A0C0-B1E516F33A15}">
      <dgm:prSet/>
      <dgm:spPr/>
      <dgm:t>
        <a:bodyPr/>
        <a:lstStyle/>
        <a:p>
          <a:endParaRPr lang="en-US" sz="1400"/>
        </a:p>
      </dgm:t>
    </dgm:pt>
    <dgm:pt modelId="{EDA47F4A-8CE7-488D-B8E9-83BBC8CF32A9}" type="sibTrans" cxnId="{26705E2E-7167-4073-A0C0-B1E516F33A15}">
      <dgm:prSet/>
      <dgm:spPr/>
      <dgm:t>
        <a:bodyPr/>
        <a:lstStyle/>
        <a:p>
          <a:endParaRPr lang="en-US" sz="1400"/>
        </a:p>
      </dgm:t>
    </dgm:pt>
    <dgm:pt modelId="{596A1DE4-DA81-45CF-AAD7-BA28082D691F}">
      <dgm:prSet phldrT="[Text]" custT="1"/>
      <dgm:spPr/>
      <dgm:t>
        <a:bodyPr/>
        <a:lstStyle/>
        <a:p>
          <a:r>
            <a:rPr lang="en-US" sz="1600" dirty="0" smtClean="0"/>
            <a:t>Use multiple measures </a:t>
          </a:r>
          <a:r>
            <a:rPr lang="en-US" sz="1600" dirty="0" smtClean="0">
              <a:sym typeface="Wingdings"/>
            </a:rPr>
            <a:t></a:t>
          </a:r>
          <a:endParaRPr lang="en-US" sz="1600" dirty="0"/>
        </a:p>
      </dgm:t>
    </dgm:pt>
    <dgm:pt modelId="{1E692194-5DE4-4319-8DF4-CB870DD1D471}" type="parTrans" cxnId="{29B54FB5-6EA8-4D9A-B6DA-85CC703E2E81}">
      <dgm:prSet/>
      <dgm:spPr/>
      <dgm:t>
        <a:bodyPr/>
        <a:lstStyle/>
        <a:p>
          <a:endParaRPr lang="en-US" sz="1400"/>
        </a:p>
      </dgm:t>
    </dgm:pt>
    <dgm:pt modelId="{99A78442-F5FE-4D8A-B765-14E1B647DA63}" type="sibTrans" cxnId="{29B54FB5-6EA8-4D9A-B6DA-85CC703E2E81}">
      <dgm:prSet/>
      <dgm:spPr/>
      <dgm:t>
        <a:bodyPr/>
        <a:lstStyle/>
        <a:p>
          <a:endParaRPr lang="en-US" sz="1400"/>
        </a:p>
      </dgm:t>
    </dgm:pt>
    <dgm:pt modelId="{0EC7CA6E-8A8B-452C-804F-73D0B609643B}">
      <dgm:prSet phldrT="[Text]" custT="1"/>
      <dgm:spPr/>
      <dgm:t>
        <a:bodyPr/>
        <a:lstStyle/>
        <a:p>
          <a:r>
            <a:rPr lang="en-US" sz="2000" dirty="0" smtClean="0"/>
            <a:t>ENSURE HIGH QUALITY DATA</a:t>
          </a:r>
          <a:endParaRPr lang="en-US" sz="2000" dirty="0"/>
        </a:p>
      </dgm:t>
    </dgm:pt>
    <dgm:pt modelId="{7AAEA8F0-F40D-4068-AFA6-53A5B0C10DB5}" type="parTrans" cxnId="{25A9D4FD-B174-412E-B9D8-BB11E997FC48}">
      <dgm:prSet/>
      <dgm:spPr/>
      <dgm:t>
        <a:bodyPr/>
        <a:lstStyle/>
        <a:p>
          <a:endParaRPr lang="en-US" sz="1400"/>
        </a:p>
      </dgm:t>
    </dgm:pt>
    <dgm:pt modelId="{12959041-C03D-41B1-B8E5-0336CEE38785}" type="sibTrans" cxnId="{25A9D4FD-B174-412E-B9D8-BB11E997FC48}">
      <dgm:prSet/>
      <dgm:spPr/>
      <dgm:t>
        <a:bodyPr/>
        <a:lstStyle/>
        <a:p>
          <a:endParaRPr lang="en-US" sz="1400"/>
        </a:p>
      </dgm:t>
    </dgm:pt>
    <dgm:pt modelId="{E8349218-C479-494D-94A9-43903FF943B3}">
      <dgm:prSet phldrT="[Text]" custT="1"/>
      <dgm:spPr/>
      <dgm:t>
        <a:bodyPr/>
        <a:lstStyle/>
        <a:p>
          <a:r>
            <a:rPr lang="en-US" sz="1600" dirty="0" smtClean="0"/>
            <a:t>Monitor validity </a:t>
          </a:r>
          <a:r>
            <a:rPr lang="en-US" sz="1600" dirty="0" smtClean="0">
              <a:solidFill>
                <a:schemeClr val="bg1">
                  <a:lumMod val="50000"/>
                </a:schemeClr>
              </a:solidFill>
              <a:sym typeface="Wingdings"/>
            </a:rPr>
            <a:t></a:t>
          </a:r>
          <a:endParaRPr lang="en-US" sz="1600" dirty="0">
            <a:solidFill>
              <a:schemeClr val="bg1">
                <a:lumMod val="50000"/>
              </a:schemeClr>
            </a:solidFill>
          </a:endParaRPr>
        </a:p>
      </dgm:t>
    </dgm:pt>
    <dgm:pt modelId="{08A2C005-B98F-4529-8F32-B3DE5DFAABCB}" type="parTrans" cxnId="{A6D55FDB-B3CC-4F4A-AEB2-A8784DCB8B05}">
      <dgm:prSet/>
      <dgm:spPr/>
      <dgm:t>
        <a:bodyPr/>
        <a:lstStyle/>
        <a:p>
          <a:endParaRPr lang="en-US" sz="1400"/>
        </a:p>
      </dgm:t>
    </dgm:pt>
    <dgm:pt modelId="{F992D180-1F85-4C2A-A8C3-CADDC3A72CCC}" type="sibTrans" cxnId="{A6D55FDB-B3CC-4F4A-AEB2-A8784DCB8B05}">
      <dgm:prSet/>
      <dgm:spPr/>
      <dgm:t>
        <a:bodyPr/>
        <a:lstStyle/>
        <a:p>
          <a:endParaRPr lang="en-US" sz="1400"/>
        </a:p>
      </dgm:t>
    </dgm:pt>
    <dgm:pt modelId="{FDC48D7E-2169-4484-B73B-7F2662C0F93C}">
      <dgm:prSet phldrT="[Text]" custT="1"/>
      <dgm:spPr/>
      <dgm:t>
        <a:bodyPr/>
        <a:lstStyle/>
        <a:p>
          <a:r>
            <a:rPr lang="en-US" sz="1600" dirty="0" smtClean="0"/>
            <a:t>Ensure reliability </a:t>
          </a:r>
          <a:r>
            <a:rPr lang="en-US" sz="1600" dirty="0" smtClean="0">
              <a:sym typeface="Wingdings"/>
            </a:rPr>
            <a:t></a:t>
          </a:r>
          <a:endParaRPr lang="en-US" sz="1600" dirty="0"/>
        </a:p>
      </dgm:t>
    </dgm:pt>
    <dgm:pt modelId="{28150429-7AFE-43FD-8DC6-6ED41162F0A1}" type="parTrans" cxnId="{E27EF571-778A-4764-A40F-18EB760B74F2}">
      <dgm:prSet/>
      <dgm:spPr/>
      <dgm:t>
        <a:bodyPr/>
        <a:lstStyle/>
        <a:p>
          <a:endParaRPr lang="en-US" sz="1400"/>
        </a:p>
      </dgm:t>
    </dgm:pt>
    <dgm:pt modelId="{651818C2-8BFB-4A4E-A145-13165C66DD57}" type="sibTrans" cxnId="{E27EF571-778A-4764-A40F-18EB760B74F2}">
      <dgm:prSet/>
      <dgm:spPr/>
      <dgm:t>
        <a:bodyPr/>
        <a:lstStyle/>
        <a:p>
          <a:endParaRPr lang="en-US" sz="1400"/>
        </a:p>
      </dgm:t>
    </dgm:pt>
    <dgm:pt modelId="{4BC0A961-6AF4-42E8-8D72-F4D2EB3C889F}">
      <dgm:prSet phldrT="[Text]" custT="1"/>
      <dgm:spPr/>
      <dgm:t>
        <a:bodyPr/>
        <a:lstStyle/>
        <a:p>
          <a:r>
            <a:rPr lang="en-US" sz="2000" dirty="0" smtClean="0"/>
            <a:t>INVEST IN IMPROVEMENT</a:t>
          </a:r>
          <a:endParaRPr lang="en-US" sz="2000" dirty="0"/>
        </a:p>
      </dgm:t>
    </dgm:pt>
    <dgm:pt modelId="{E6AC5516-17E9-4436-BDBC-D2C9AA0C93A4}" type="parTrans" cxnId="{70BBDB77-19E7-457E-90FE-59757A678841}">
      <dgm:prSet/>
      <dgm:spPr/>
      <dgm:t>
        <a:bodyPr/>
        <a:lstStyle/>
        <a:p>
          <a:endParaRPr lang="en-US" sz="1400"/>
        </a:p>
      </dgm:t>
    </dgm:pt>
    <dgm:pt modelId="{D5527ED8-2F0D-48A2-A0F5-75DCC4F3C1AD}" type="sibTrans" cxnId="{70BBDB77-19E7-457E-90FE-59757A678841}">
      <dgm:prSet/>
      <dgm:spPr/>
      <dgm:t>
        <a:bodyPr/>
        <a:lstStyle/>
        <a:p>
          <a:endParaRPr lang="en-US" sz="1400"/>
        </a:p>
      </dgm:t>
    </dgm:pt>
    <dgm:pt modelId="{A229CE4B-CABD-43C7-9508-3DEF646A8C7C}">
      <dgm:prSet phldrT="[Text]" custT="1"/>
      <dgm:spPr/>
      <dgm:t>
        <a:bodyPr/>
        <a:lstStyle/>
        <a:p>
          <a:r>
            <a:rPr lang="en-US" sz="1600" dirty="0" smtClean="0"/>
            <a:t>Make meaningful distinctions</a:t>
          </a:r>
          <a:endParaRPr lang="en-US" sz="1600" dirty="0"/>
        </a:p>
      </dgm:t>
    </dgm:pt>
    <dgm:pt modelId="{41454F9C-F590-495B-A03D-03EA0436D2DC}" type="parTrans" cxnId="{E7177F8E-3983-4EEB-9BF8-2D866B6926F7}">
      <dgm:prSet/>
      <dgm:spPr/>
      <dgm:t>
        <a:bodyPr/>
        <a:lstStyle/>
        <a:p>
          <a:endParaRPr lang="en-US" sz="1400"/>
        </a:p>
      </dgm:t>
    </dgm:pt>
    <dgm:pt modelId="{FDB06C17-BD1B-43E6-B840-C791E4FC0893}" type="sibTrans" cxnId="{E7177F8E-3983-4EEB-9BF8-2D866B6926F7}">
      <dgm:prSet/>
      <dgm:spPr/>
      <dgm:t>
        <a:bodyPr/>
        <a:lstStyle/>
        <a:p>
          <a:endParaRPr lang="en-US" sz="1400"/>
        </a:p>
      </dgm:t>
    </dgm:pt>
    <dgm:pt modelId="{B66E7B19-6FD8-4B58-981F-886CBE502E81}">
      <dgm:prSet phldrT="[Text]" custT="1"/>
      <dgm:spPr/>
      <dgm:t>
        <a:bodyPr/>
        <a:lstStyle/>
        <a:p>
          <a:r>
            <a:rPr lang="en-US" sz="1600" dirty="0" smtClean="0"/>
            <a:t>Use data for decisions at all levels </a:t>
          </a:r>
          <a:r>
            <a:rPr lang="en-US" sz="1600" dirty="0" smtClean="0">
              <a:solidFill>
                <a:schemeClr val="bg1">
                  <a:lumMod val="50000"/>
                </a:schemeClr>
              </a:solidFill>
              <a:sym typeface="Wingdings"/>
            </a:rPr>
            <a:t></a:t>
          </a:r>
          <a:endParaRPr lang="en-US" sz="1600" dirty="0"/>
        </a:p>
      </dgm:t>
    </dgm:pt>
    <dgm:pt modelId="{D02029B6-5FA9-4CC3-ADE4-0EBC56DF8FAE}" type="parTrans" cxnId="{8C7140E3-EBD7-426D-BB9B-293CFB316286}">
      <dgm:prSet/>
      <dgm:spPr/>
      <dgm:t>
        <a:bodyPr/>
        <a:lstStyle/>
        <a:p>
          <a:endParaRPr lang="en-US" sz="1400"/>
        </a:p>
      </dgm:t>
    </dgm:pt>
    <dgm:pt modelId="{311DF7EF-2BFC-41C8-8650-50CF510E92AC}" type="sibTrans" cxnId="{8C7140E3-EBD7-426D-BB9B-293CFB316286}">
      <dgm:prSet/>
      <dgm:spPr/>
      <dgm:t>
        <a:bodyPr/>
        <a:lstStyle/>
        <a:p>
          <a:endParaRPr lang="en-US" sz="1400"/>
        </a:p>
      </dgm:t>
    </dgm:pt>
    <dgm:pt modelId="{116CCE50-42FC-4B6E-8783-8D9DA19A47F9}">
      <dgm:prSet phldrT="[Text]" custT="1"/>
      <dgm:spPr/>
      <dgm:t>
        <a:bodyPr/>
        <a:lstStyle/>
        <a:p>
          <a:r>
            <a:rPr lang="en-US" sz="1600" dirty="0" smtClean="0"/>
            <a:t>Balance weights </a:t>
          </a:r>
          <a:r>
            <a:rPr lang="en-US" sz="1600" dirty="0" smtClean="0">
              <a:sym typeface="Wingdings"/>
            </a:rPr>
            <a:t></a:t>
          </a:r>
          <a:endParaRPr lang="en-US" sz="1600" dirty="0"/>
        </a:p>
      </dgm:t>
    </dgm:pt>
    <dgm:pt modelId="{B209AB97-8FC2-42BD-967C-0F683FE03BB7}" type="parTrans" cxnId="{318A2EC6-3A78-489D-841A-1103681ECEF6}">
      <dgm:prSet/>
      <dgm:spPr/>
      <dgm:t>
        <a:bodyPr/>
        <a:lstStyle/>
        <a:p>
          <a:endParaRPr lang="en-US" sz="1400"/>
        </a:p>
      </dgm:t>
    </dgm:pt>
    <dgm:pt modelId="{0112C1C9-581D-48B6-BD7A-55DEE5357913}" type="sibTrans" cxnId="{318A2EC6-3A78-489D-841A-1103681ECEF6}">
      <dgm:prSet/>
      <dgm:spPr/>
      <dgm:t>
        <a:bodyPr/>
        <a:lstStyle/>
        <a:p>
          <a:endParaRPr lang="en-US" sz="1400"/>
        </a:p>
      </dgm:t>
    </dgm:pt>
    <dgm:pt modelId="{A883A2AD-D161-4905-B60B-2BF2ACB8065B}">
      <dgm:prSet phldrT="[Text]" custT="1"/>
      <dgm:spPr/>
      <dgm:t>
        <a:bodyPr/>
        <a:lstStyle/>
        <a:p>
          <a:r>
            <a:rPr lang="en-US" sz="1600" dirty="0" smtClean="0"/>
            <a:t>Assure accuracy </a:t>
          </a:r>
          <a:r>
            <a:rPr lang="en-US" sz="1600" dirty="0" smtClean="0">
              <a:solidFill>
                <a:schemeClr val="bg1">
                  <a:lumMod val="50000"/>
                </a:schemeClr>
              </a:solidFill>
              <a:sym typeface="Wingdings"/>
            </a:rPr>
            <a:t></a:t>
          </a:r>
          <a:endParaRPr lang="en-US" sz="1600" dirty="0">
            <a:solidFill>
              <a:schemeClr val="bg1">
                <a:lumMod val="50000"/>
              </a:schemeClr>
            </a:solidFill>
          </a:endParaRPr>
        </a:p>
      </dgm:t>
    </dgm:pt>
    <dgm:pt modelId="{34E3687B-A185-49FA-936F-73F856CECD99}" type="parTrans" cxnId="{0EF702C7-7ABE-411E-AB31-858147DE70BD}">
      <dgm:prSet/>
      <dgm:spPr/>
      <dgm:t>
        <a:bodyPr/>
        <a:lstStyle/>
        <a:p>
          <a:endParaRPr lang="en-US" sz="1400"/>
        </a:p>
      </dgm:t>
    </dgm:pt>
    <dgm:pt modelId="{E4CC3042-F5B0-4451-B826-E21A60756A29}" type="sibTrans" cxnId="{0EF702C7-7ABE-411E-AB31-858147DE70BD}">
      <dgm:prSet/>
      <dgm:spPr/>
      <dgm:t>
        <a:bodyPr/>
        <a:lstStyle/>
        <a:p>
          <a:endParaRPr lang="en-US" sz="1400"/>
        </a:p>
      </dgm:t>
    </dgm:pt>
    <dgm:pt modelId="{0EE9CE0A-BB07-472C-8F7A-385BBBBE652E}">
      <dgm:prSet phldrT="[Text]" custT="1"/>
      <dgm:spPr/>
      <dgm:t>
        <a:bodyPr/>
        <a:lstStyle/>
        <a:p>
          <a:r>
            <a:rPr lang="en-US" sz="1600" dirty="0" smtClean="0"/>
            <a:t>Prioritize support and feedback </a:t>
          </a:r>
          <a:r>
            <a:rPr lang="en-US" sz="1600" dirty="0" smtClean="0">
              <a:sym typeface="Wingdings"/>
            </a:rPr>
            <a:t></a:t>
          </a:r>
          <a:endParaRPr lang="en-US" sz="1600" dirty="0"/>
        </a:p>
      </dgm:t>
    </dgm:pt>
    <dgm:pt modelId="{262CAB07-886F-4922-9D28-F67CFDB33028}" type="parTrans" cxnId="{841CA7B9-DB55-4F93-B4CE-DEFE8117971A}">
      <dgm:prSet/>
      <dgm:spPr/>
      <dgm:t>
        <a:bodyPr/>
        <a:lstStyle/>
        <a:p>
          <a:endParaRPr lang="en-US" sz="1400"/>
        </a:p>
      </dgm:t>
    </dgm:pt>
    <dgm:pt modelId="{540A0610-3876-47ED-B994-7293D8E70E8E}" type="sibTrans" cxnId="{841CA7B9-DB55-4F93-B4CE-DEFE8117971A}">
      <dgm:prSet/>
      <dgm:spPr/>
      <dgm:t>
        <a:bodyPr/>
        <a:lstStyle/>
        <a:p>
          <a:endParaRPr lang="en-US" sz="1400"/>
        </a:p>
      </dgm:t>
    </dgm:pt>
    <dgm:pt modelId="{1D27C780-89F4-4C3F-9BB1-480BA8445745}" type="pres">
      <dgm:prSet presAssocID="{DA119EB9-12BF-4C4A-B87B-549D9B5DF26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48957B5-ABEB-4824-B938-7E033A0A1870}" type="pres">
      <dgm:prSet presAssocID="{D9E0D14A-7B0F-4211-8777-8B18832C3FB1}" presName="linNode" presStyleCnt="0"/>
      <dgm:spPr/>
    </dgm:pt>
    <dgm:pt modelId="{5BDA1C85-2AAE-4C18-BDF7-9DD301733AB1}" type="pres">
      <dgm:prSet presAssocID="{D9E0D14A-7B0F-4211-8777-8B18832C3FB1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A3E4CF-6C2A-4B5D-802C-7FB27FD5445D}" type="pres">
      <dgm:prSet presAssocID="{D9E0D14A-7B0F-4211-8777-8B18832C3FB1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7240B5-7994-4CC1-BFAD-59421D9E3514}" type="pres">
      <dgm:prSet presAssocID="{60E46969-D991-43BA-B9E5-CDCD78F2D05F}" presName="sp" presStyleCnt="0"/>
      <dgm:spPr/>
    </dgm:pt>
    <dgm:pt modelId="{30F0DF6A-83CB-4A65-941D-0EFE51D620FA}" type="pres">
      <dgm:prSet presAssocID="{0EC7CA6E-8A8B-452C-804F-73D0B609643B}" presName="linNode" presStyleCnt="0"/>
      <dgm:spPr/>
    </dgm:pt>
    <dgm:pt modelId="{3A31A9B2-AE89-42AE-BD1C-200C686D3979}" type="pres">
      <dgm:prSet presAssocID="{0EC7CA6E-8A8B-452C-804F-73D0B609643B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2513E2-4AEE-459D-9B17-A4CAF3F45E1E}" type="pres">
      <dgm:prSet presAssocID="{0EC7CA6E-8A8B-452C-804F-73D0B609643B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6AC724-3D15-4BFA-8444-9EA52D72388E}" type="pres">
      <dgm:prSet presAssocID="{12959041-C03D-41B1-B8E5-0336CEE38785}" presName="sp" presStyleCnt="0"/>
      <dgm:spPr/>
    </dgm:pt>
    <dgm:pt modelId="{1DEE442C-7A59-4B39-A82F-6AC6417B60DB}" type="pres">
      <dgm:prSet presAssocID="{4BC0A961-6AF4-42E8-8D72-F4D2EB3C889F}" presName="linNode" presStyleCnt="0"/>
      <dgm:spPr/>
    </dgm:pt>
    <dgm:pt modelId="{8F79C8D9-4CA7-4BE8-B960-4EA106EDE4B8}" type="pres">
      <dgm:prSet presAssocID="{4BC0A961-6AF4-42E8-8D72-F4D2EB3C889F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39CC9E-5127-4361-B6DA-78A66403F56C}" type="pres">
      <dgm:prSet presAssocID="{4BC0A961-6AF4-42E8-8D72-F4D2EB3C889F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5A9D4FD-B174-412E-B9D8-BB11E997FC48}" srcId="{DA119EB9-12BF-4C4A-B87B-549D9B5DF26D}" destId="{0EC7CA6E-8A8B-452C-804F-73D0B609643B}" srcOrd="1" destOrd="0" parTransId="{7AAEA8F0-F40D-4068-AFA6-53A5B0C10DB5}" sibTransId="{12959041-C03D-41B1-B8E5-0336CEE38785}"/>
    <dgm:cxn modelId="{FFB8E7F5-54BF-184E-851F-90C3B372E508}" type="presOf" srcId="{596A1DE4-DA81-45CF-AAD7-BA28082D691F}" destId="{F1A3E4CF-6C2A-4B5D-802C-7FB27FD5445D}" srcOrd="0" destOrd="1" presId="urn:microsoft.com/office/officeart/2005/8/layout/vList5"/>
    <dgm:cxn modelId="{11C4AE35-C17C-3F43-BC30-6B7CE12A61A0}" type="presOf" srcId="{A229CE4B-CABD-43C7-9508-3DEF646A8C7C}" destId="{AF39CC9E-5127-4361-B6DA-78A66403F56C}" srcOrd="0" destOrd="0" presId="urn:microsoft.com/office/officeart/2005/8/layout/vList5"/>
    <dgm:cxn modelId="{D36A6EA7-4EA8-F84C-8F40-389265926293}" type="presOf" srcId="{116CCE50-42FC-4B6E-8783-8D9DA19A47F9}" destId="{F1A3E4CF-6C2A-4B5D-802C-7FB27FD5445D}" srcOrd="0" destOrd="2" presId="urn:microsoft.com/office/officeart/2005/8/layout/vList5"/>
    <dgm:cxn modelId="{A6D55FDB-B3CC-4F4A-AEB2-A8784DCB8B05}" srcId="{0EC7CA6E-8A8B-452C-804F-73D0B609643B}" destId="{E8349218-C479-494D-94A9-43903FF943B3}" srcOrd="0" destOrd="0" parTransId="{08A2C005-B98F-4529-8F32-B3DE5DFAABCB}" sibTransId="{F992D180-1F85-4C2A-A8C3-CADDC3A72CCC}"/>
    <dgm:cxn modelId="{70E379E9-A9BC-C943-9303-E4D4133B2153}" type="presOf" srcId="{B66E7B19-6FD8-4B58-981F-886CBE502E81}" destId="{AF39CC9E-5127-4361-B6DA-78A66403F56C}" srcOrd="0" destOrd="2" presId="urn:microsoft.com/office/officeart/2005/8/layout/vList5"/>
    <dgm:cxn modelId="{841CA7B9-DB55-4F93-B4CE-DEFE8117971A}" srcId="{4BC0A961-6AF4-42E8-8D72-F4D2EB3C889F}" destId="{0EE9CE0A-BB07-472C-8F7A-385BBBBE652E}" srcOrd="1" destOrd="0" parTransId="{262CAB07-886F-4922-9D28-F67CFDB33028}" sibTransId="{540A0610-3876-47ED-B994-7293D8E70E8E}"/>
    <dgm:cxn modelId="{70BBDB77-19E7-457E-90FE-59757A678841}" srcId="{DA119EB9-12BF-4C4A-B87B-549D9B5DF26D}" destId="{4BC0A961-6AF4-42E8-8D72-F4D2EB3C889F}" srcOrd="2" destOrd="0" parTransId="{E6AC5516-17E9-4436-BDBC-D2C9AA0C93A4}" sibTransId="{D5527ED8-2F0D-48A2-A0F5-75DCC4F3C1AD}"/>
    <dgm:cxn modelId="{0EF702C7-7ABE-411E-AB31-858147DE70BD}" srcId="{0EC7CA6E-8A8B-452C-804F-73D0B609643B}" destId="{A883A2AD-D161-4905-B60B-2BF2ACB8065B}" srcOrd="2" destOrd="0" parTransId="{34E3687B-A185-49FA-936F-73F856CECD99}" sibTransId="{E4CC3042-F5B0-4451-B826-E21A60756A29}"/>
    <dgm:cxn modelId="{DCFC3F32-E88A-1A46-835E-02F509B49FA0}" type="presOf" srcId="{E8349218-C479-494D-94A9-43903FF943B3}" destId="{E22513E2-4AEE-459D-9B17-A4CAF3F45E1E}" srcOrd="0" destOrd="0" presId="urn:microsoft.com/office/officeart/2005/8/layout/vList5"/>
    <dgm:cxn modelId="{26705E2E-7167-4073-A0C0-B1E516F33A15}" srcId="{D9E0D14A-7B0F-4211-8777-8B18832C3FB1}" destId="{3BBBE2AC-7AE3-4290-9B94-0CCD6A51DF25}" srcOrd="0" destOrd="0" parTransId="{619488B0-8D7D-42A6-A2DF-07D6BE56B7F5}" sibTransId="{EDA47F4A-8CE7-488D-B8E9-83BBC8CF32A9}"/>
    <dgm:cxn modelId="{9226966B-2C36-AB42-8DB6-1BC30796B197}" type="presOf" srcId="{D9E0D14A-7B0F-4211-8777-8B18832C3FB1}" destId="{5BDA1C85-2AAE-4C18-BDF7-9DD301733AB1}" srcOrd="0" destOrd="0" presId="urn:microsoft.com/office/officeart/2005/8/layout/vList5"/>
    <dgm:cxn modelId="{BF0CB38C-61D4-0D4F-9475-24EBC38A49FD}" type="presOf" srcId="{4BC0A961-6AF4-42E8-8D72-F4D2EB3C889F}" destId="{8F79C8D9-4CA7-4BE8-B960-4EA106EDE4B8}" srcOrd="0" destOrd="0" presId="urn:microsoft.com/office/officeart/2005/8/layout/vList5"/>
    <dgm:cxn modelId="{37F73518-8C7F-CF48-9594-BE19D3550C60}" type="presOf" srcId="{0EC7CA6E-8A8B-452C-804F-73D0B609643B}" destId="{3A31A9B2-AE89-42AE-BD1C-200C686D3979}" srcOrd="0" destOrd="0" presId="urn:microsoft.com/office/officeart/2005/8/layout/vList5"/>
    <dgm:cxn modelId="{8C7140E3-EBD7-426D-BB9B-293CFB316286}" srcId="{4BC0A961-6AF4-42E8-8D72-F4D2EB3C889F}" destId="{B66E7B19-6FD8-4B58-981F-886CBE502E81}" srcOrd="2" destOrd="0" parTransId="{D02029B6-5FA9-4CC3-ADE4-0EBC56DF8FAE}" sibTransId="{311DF7EF-2BFC-41C8-8650-50CF510E92AC}"/>
    <dgm:cxn modelId="{E27EF571-778A-4764-A40F-18EB760B74F2}" srcId="{0EC7CA6E-8A8B-452C-804F-73D0B609643B}" destId="{FDC48D7E-2169-4484-B73B-7F2662C0F93C}" srcOrd="1" destOrd="0" parTransId="{28150429-7AFE-43FD-8DC6-6ED41162F0A1}" sibTransId="{651818C2-8BFB-4A4E-A145-13165C66DD57}"/>
    <dgm:cxn modelId="{B5AB5C19-BCB8-4F6D-8B75-FEA9DD94A41B}" srcId="{DA119EB9-12BF-4C4A-B87B-549D9B5DF26D}" destId="{D9E0D14A-7B0F-4211-8777-8B18832C3FB1}" srcOrd="0" destOrd="0" parTransId="{7B1AC613-2959-46FB-9EFF-CF47A0324854}" sibTransId="{60E46969-D991-43BA-B9E5-CDCD78F2D05F}"/>
    <dgm:cxn modelId="{29B54FB5-6EA8-4D9A-B6DA-85CC703E2E81}" srcId="{D9E0D14A-7B0F-4211-8777-8B18832C3FB1}" destId="{596A1DE4-DA81-45CF-AAD7-BA28082D691F}" srcOrd="1" destOrd="0" parTransId="{1E692194-5DE4-4319-8DF4-CB870DD1D471}" sibTransId="{99A78442-F5FE-4D8A-B765-14E1B647DA63}"/>
    <dgm:cxn modelId="{CFF73580-9FE0-B245-83C7-70611923770D}" type="presOf" srcId="{A883A2AD-D161-4905-B60B-2BF2ACB8065B}" destId="{E22513E2-4AEE-459D-9B17-A4CAF3F45E1E}" srcOrd="0" destOrd="2" presId="urn:microsoft.com/office/officeart/2005/8/layout/vList5"/>
    <dgm:cxn modelId="{FB08F0C4-B083-4C48-83F9-0E8756422FBC}" type="presOf" srcId="{3BBBE2AC-7AE3-4290-9B94-0CCD6A51DF25}" destId="{F1A3E4CF-6C2A-4B5D-802C-7FB27FD5445D}" srcOrd="0" destOrd="0" presId="urn:microsoft.com/office/officeart/2005/8/layout/vList5"/>
    <dgm:cxn modelId="{318A2EC6-3A78-489D-841A-1103681ECEF6}" srcId="{D9E0D14A-7B0F-4211-8777-8B18832C3FB1}" destId="{116CCE50-42FC-4B6E-8783-8D9DA19A47F9}" srcOrd="2" destOrd="0" parTransId="{B209AB97-8FC2-42BD-967C-0F683FE03BB7}" sibTransId="{0112C1C9-581D-48B6-BD7A-55DEE5357913}"/>
    <dgm:cxn modelId="{27E8FFD8-70A0-EF46-8B7C-893C22048EE7}" type="presOf" srcId="{0EE9CE0A-BB07-472C-8F7A-385BBBBE652E}" destId="{AF39CC9E-5127-4361-B6DA-78A66403F56C}" srcOrd="0" destOrd="1" presId="urn:microsoft.com/office/officeart/2005/8/layout/vList5"/>
    <dgm:cxn modelId="{E7177F8E-3983-4EEB-9BF8-2D866B6926F7}" srcId="{4BC0A961-6AF4-42E8-8D72-F4D2EB3C889F}" destId="{A229CE4B-CABD-43C7-9508-3DEF646A8C7C}" srcOrd="0" destOrd="0" parTransId="{41454F9C-F590-495B-A03D-03EA0436D2DC}" sibTransId="{FDB06C17-BD1B-43E6-B840-C791E4FC0893}"/>
    <dgm:cxn modelId="{0A9C0EB7-C31F-1649-9609-134AC4DFBCB6}" type="presOf" srcId="{FDC48D7E-2169-4484-B73B-7F2662C0F93C}" destId="{E22513E2-4AEE-459D-9B17-A4CAF3F45E1E}" srcOrd="0" destOrd="1" presId="urn:microsoft.com/office/officeart/2005/8/layout/vList5"/>
    <dgm:cxn modelId="{C656A17B-DD28-8249-A0F8-2E6E7DD7F46C}" type="presOf" srcId="{DA119EB9-12BF-4C4A-B87B-549D9B5DF26D}" destId="{1D27C780-89F4-4C3F-9BB1-480BA8445745}" srcOrd="0" destOrd="0" presId="urn:microsoft.com/office/officeart/2005/8/layout/vList5"/>
    <dgm:cxn modelId="{42334064-2568-644B-A3AE-E26F009CEEBC}" type="presParOf" srcId="{1D27C780-89F4-4C3F-9BB1-480BA8445745}" destId="{748957B5-ABEB-4824-B938-7E033A0A1870}" srcOrd="0" destOrd="0" presId="urn:microsoft.com/office/officeart/2005/8/layout/vList5"/>
    <dgm:cxn modelId="{DDD4F759-99EF-B343-B304-F531A0E31742}" type="presParOf" srcId="{748957B5-ABEB-4824-B938-7E033A0A1870}" destId="{5BDA1C85-2AAE-4C18-BDF7-9DD301733AB1}" srcOrd="0" destOrd="0" presId="urn:microsoft.com/office/officeart/2005/8/layout/vList5"/>
    <dgm:cxn modelId="{5AB00640-BDEF-5149-8ADC-D19A4CE8A015}" type="presParOf" srcId="{748957B5-ABEB-4824-B938-7E033A0A1870}" destId="{F1A3E4CF-6C2A-4B5D-802C-7FB27FD5445D}" srcOrd="1" destOrd="0" presId="urn:microsoft.com/office/officeart/2005/8/layout/vList5"/>
    <dgm:cxn modelId="{0C9A3977-0949-C645-9997-74EBD521B8FF}" type="presParOf" srcId="{1D27C780-89F4-4C3F-9BB1-480BA8445745}" destId="{DC7240B5-7994-4CC1-BFAD-59421D9E3514}" srcOrd="1" destOrd="0" presId="urn:microsoft.com/office/officeart/2005/8/layout/vList5"/>
    <dgm:cxn modelId="{4C76D9A5-5C98-D243-9861-B5F8742B47A0}" type="presParOf" srcId="{1D27C780-89F4-4C3F-9BB1-480BA8445745}" destId="{30F0DF6A-83CB-4A65-941D-0EFE51D620FA}" srcOrd="2" destOrd="0" presId="urn:microsoft.com/office/officeart/2005/8/layout/vList5"/>
    <dgm:cxn modelId="{9851005E-AFD6-104C-AB76-55311A864417}" type="presParOf" srcId="{30F0DF6A-83CB-4A65-941D-0EFE51D620FA}" destId="{3A31A9B2-AE89-42AE-BD1C-200C686D3979}" srcOrd="0" destOrd="0" presId="urn:microsoft.com/office/officeart/2005/8/layout/vList5"/>
    <dgm:cxn modelId="{19005DDF-E8AE-1D47-B0F7-FB5D55752501}" type="presParOf" srcId="{30F0DF6A-83CB-4A65-941D-0EFE51D620FA}" destId="{E22513E2-4AEE-459D-9B17-A4CAF3F45E1E}" srcOrd="1" destOrd="0" presId="urn:microsoft.com/office/officeart/2005/8/layout/vList5"/>
    <dgm:cxn modelId="{57DC14D8-4563-9A41-9EF1-771EB24BD8CA}" type="presParOf" srcId="{1D27C780-89F4-4C3F-9BB1-480BA8445745}" destId="{EA6AC724-3D15-4BFA-8444-9EA52D72388E}" srcOrd="3" destOrd="0" presId="urn:microsoft.com/office/officeart/2005/8/layout/vList5"/>
    <dgm:cxn modelId="{7E671CBB-DBF6-3640-A4E6-EC647D496CD1}" type="presParOf" srcId="{1D27C780-89F4-4C3F-9BB1-480BA8445745}" destId="{1DEE442C-7A59-4B39-A82F-6AC6417B60DB}" srcOrd="4" destOrd="0" presId="urn:microsoft.com/office/officeart/2005/8/layout/vList5"/>
    <dgm:cxn modelId="{A6403C02-B7F6-E848-9AD5-6F5543029FCD}" type="presParOf" srcId="{1DEE442C-7A59-4B39-A82F-6AC6417B60DB}" destId="{8F79C8D9-4CA7-4BE8-B960-4EA106EDE4B8}" srcOrd="0" destOrd="0" presId="urn:microsoft.com/office/officeart/2005/8/layout/vList5"/>
    <dgm:cxn modelId="{9DDD1967-23F0-7047-AE35-F62B5003B959}" type="presParOf" srcId="{1DEE442C-7A59-4B39-A82F-6AC6417B60DB}" destId="{AF39CC9E-5127-4361-B6DA-78A66403F56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C63202-16AF-4F8E-AEE2-40A5735F9462}" type="doc">
      <dgm:prSet loTypeId="urn:microsoft.com/office/officeart/2005/8/layout/cycle6" loCatId="relationship" qsTypeId="urn:microsoft.com/office/officeart/2005/8/quickstyle/simple2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F15CCA12-FC80-4A4B-B7E1-145AFA08F470}">
      <dgm:prSet phldrT="[Text]" custT="1"/>
      <dgm:spPr/>
      <dgm:t>
        <a:bodyPr/>
        <a:lstStyle/>
        <a:p>
          <a:r>
            <a:rPr lang="en-US" sz="1100" b="1" dirty="0" smtClean="0"/>
            <a:t>DCTA</a:t>
          </a:r>
          <a:endParaRPr lang="en-US" sz="1100" b="1" dirty="0"/>
        </a:p>
      </dgm:t>
    </dgm:pt>
    <dgm:pt modelId="{DD32894E-44D4-4285-9F53-409F99D2CC46}" type="parTrans" cxnId="{863A5012-3FE3-48F9-B127-9BF888883FAD}">
      <dgm:prSet/>
      <dgm:spPr/>
      <dgm:t>
        <a:bodyPr/>
        <a:lstStyle/>
        <a:p>
          <a:endParaRPr lang="en-US"/>
        </a:p>
      </dgm:t>
    </dgm:pt>
    <dgm:pt modelId="{73561188-009A-4885-8A12-1542A55F8B37}" type="sibTrans" cxnId="{863A5012-3FE3-48F9-B127-9BF888883FAD}">
      <dgm:prSet/>
      <dgm:spPr/>
      <dgm:t>
        <a:bodyPr/>
        <a:lstStyle/>
        <a:p>
          <a:endParaRPr lang="en-US"/>
        </a:p>
      </dgm:t>
    </dgm:pt>
    <dgm:pt modelId="{B9C65D17-1348-406B-AC81-802AC211714A}">
      <dgm:prSet phldrT="[Text]" custT="1"/>
      <dgm:spPr/>
      <dgm:t>
        <a:bodyPr/>
        <a:lstStyle/>
        <a:p>
          <a:r>
            <a:rPr lang="en-US" sz="1100" b="1" dirty="0" smtClean="0"/>
            <a:t>LEAP Hotline &amp; Website</a:t>
          </a:r>
          <a:endParaRPr lang="en-US" sz="1100" b="1" dirty="0"/>
        </a:p>
      </dgm:t>
    </dgm:pt>
    <dgm:pt modelId="{A276A738-431B-4AB0-A145-FDCCF7B344E1}" type="parTrans" cxnId="{07C11667-1395-44B9-BB5A-A71F1E11DE38}">
      <dgm:prSet/>
      <dgm:spPr/>
      <dgm:t>
        <a:bodyPr/>
        <a:lstStyle/>
        <a:p>
          <a:endParaRPr lang="en-US"/>
        </a:p>
      </dgm:t>
    </dgm:pt>
    <dgm:pt modelId="{52BB3D94-A753-4ECA-A24E-CC7FEB8070C9}" type="sibTrans" cxnId="{07C11667-1395-44B9-BB5A-A71F1E11DE38}">
      <dgm:prSet/>
      <dgm:spPr/>
      <dgm:t>
        <a:bodyPr/>
        <a:lstStyle/>
        <a:p>
          <a:endParaRPr lang="en-US"/>
        </a:p>
      </dgm:t>
    </dgm:pt>
    <dgm:pt modelId="{6950F27E-792C-45B8-A590-E63B4E4F6827}">
      <dgm:prSet phldrT="[Text]" custT="1"/>
      <dgm:spPr/>
      <dgm:t>
        <a:bodyPr/>
        <a:lstStyle/>
        <a:p>
          <a:r>
            <a:rPr lang="en-US" sz="1100" b="1" dirty="0" smtClean="0"/>
            <a:t>Multiple Years of Design</a:t>
          </a:r>
          <a:endParaRPr lang="en-US" sz="1100" b="1" dirty="0"/>
        </a:p>
      </dgm:t>
    </dgm:pt>
    <dgm:pt modelId="{9904FD41-ECA2-4577-8217-1BF7A7B969B6}" type="parTrans" cxnId="{5B3EDDEA-F60C-482B-A9D7-3000207D2287}">
      <dgm:prSet/>
      <dgm:spPr/>
      <dgm:t>
        <a:bodyPr/>
        <a:lstStyle/>
        <a:p>
          <a:endParaRPr lang="en-US"/>
        </a:p>
      </dgm:t>
    </dgm:pt>
    <dgm:pt modelId="{ED67F856-2E4D-44CE-ADEF-6A2E431BED82}" type="sibTrans" cxnId="{5B3EDDEA-F60C-482B-A9D7-3000207D2287}">
      <dgm:prSet/>
      <dgm:spPr/>
      <dgm:t>
        <a:bodyPr/>
        <a:lstStyle/>
        <a:p>
          <a:endParaRPr lang="en-US"/>
        </a:p>
      </dgm:t>
    </dgm:pt>
    <dgm:pt modelId="{DC04F2DC-4C95-40B4-BF22-6E5148B323D3}">
      <dgm:prSet phldrT="[Text]" custT="1"/>
      <dgm:spPr/>
      <dgm:t>
        <a:bodyPr/>
        <a:lstStyle/>
        <a:p>
          <a:r>
            <a:rPr lang="en-US" sz="1100" b="1" dirty="0" smtClean="0"/>
            <a:t>Newsletters, Websites</a:t>
          </a:r>
          <a:endParaRPr lang="en-US" sz="1100" b="1" dirty="0"/>
        </a:p>
      </dgm:t>
    </dgm:pt>
    <dgm:pt modelId="{6E49C93E-E654-414F-81B2-05C52B1E66AE}" type="parTrans" cxnId="{6B0C9D84-AA36-40E4-A979-C2A27EEC1717}">
      <dgm:prSet/>
      <dgm:spPr/>
      <dgm:t>
        <a:bodyPr/>
        <a:lstStyle/>
        <a:p>
          <a:endParaRPr lang="en-US"/>
        </a:p>
      </dgm:t>
    </dgm:pt>
    <dgm:pt modelId="{26E37295-4F01-4029-8541-9078C3DA9AE6}" type="sibTrans" cxnId="{6B0C9D84-AA36-40E4-A979-C2A27EEC1717}">
      <dgm:prSet/>
      <dgm:spPr/>
      <dgm:t>
        <a:bodyPr/>
        <a:lstStyle/>
        <a:p>
          <a:endParaRPr lang="en-US"/>
        </a:p>
      </dgm:t>
    </dgm:pt>
    <dgm:pt modelId="{8B09A7D8-4129-4644-8CBA-C44F265C5A36}">
      <dgm:prSet phldrT="[Text]" custT="1"/>
      <dgm:spPr/>
      <dgm:t>
        <a:bodyPr/>
        <a:lstStyle/>
        <a:p>
          <a:r>
            <a:rPr lang="en-US" sz="1100" b="1" dirty="0" smtClean="0"/>
            <a:t>DCTA Liaison and Outreach Managers</a:t>
          </a:r>
          <a:endParaRPr lang="en-US" sz="1100" b="1" dirty="0"/>
        </a:p>
      </dgm:t>
    </dgm:pt>
    <dgm:pt modelId="{8D520E90-5F95-4BEF-A3A5-CAB0DA1BD929}" type="parTrans" cxnId="{33799D60-4AEE-4231-B798-8D419539FFC1}">
      <dgm:prSet/>
      <dgm:spPr/>
      <dgm:t>
        <a:bodyPr/>
        <a:lstStyle/>
        <a:p>
          <a:endParaRPr lang="en-US"/>
        </a:p>
      </dgm:t>
    </dgm:pt>
    <dgm:pt modelId="{E0E22E78-CC24-4E0A-AE5E-3D630FE8D55F}" type="sibTrans" cxnId="{33799D60-4AEE-4231-B798-8D419539FFC1}">
      <dgm:prSet/>
      <dgm:spPr/>
      <dgm:t>
        <a:bodyPr/>
        <a:lstStyle/>
        <a:p>
          <a:endParaRPr lang="en-US"/>
        </a:p>
      </dgm:t>
    </dgm:pt>
    <dgm:pt modelId="{8E970A64-9A9D-4B86-B983-842787D59D4E}">
      <dgm:prSet phldrT="[Text]" custT="1"/>
      <dgm:spPr/>
      <dgm:t>
        <a:bodyPr/>
        <a:lstStyle/>
        <a:p>
          <a:r>
            <a:rPr lang="en-US" sz="1100" b="1" dirty="0" smtClean="0"/>
            <a:t>Focus Groups</a:t>
          </a:r>
          <a:endParaRPr lang="en-US" sz="1100" b="1" dirty="0"/>
        </a:p>
      </dgm:t>
    </dgm:pt>
    <dgm:pt modelId="{0FA48D80-4FE2-4992-BAE5-9A2F442AB58D}" type="parTrans" cxnId="{1AD23298-4850-4A14-862B-82B143800929}">
      <dgm:prSet/>
      <dgm:spPr/>
      <dgm:t>
        <a:bodyPr/>
        <a:lstStyle/>
        <a:p>
          <a:endParaRPr lang="en-US"/>
        </a:p>
      </dgm:t>
    </dgm:pt>
    <dgm:pt modelId="{D13C3ED2-6CEB-4F69-A657-0096D3F4711A}" type="sibTrans" cxnId="{1AD23298-4850-4A14-862B-82B143800929}">
      <dgm:prSet/>
      <dgm:spPr/>
      <dgm:t>
        <a:bodyPr/>
        <a:lstStyle/>
        <a:p>
          <a:endParaRPr lang="en-US"/>
        </a:p>
      </dgm:t>
    </dgm:pt>
    <dgm:pt modelId="{C7A4CB04-7525-40D3-B71B-A820E0034BA2}">
      <dgm:prSet phldrT="[Text]" custT="1"/>
      <dgm:spPr/>
      <dgm:t>
        <a:bodyPr/>
        <a:lstStyle/>
        <a:p>
          <a:r>
            <a:rPr lang="en-US" sz="1100" b="1" dirty="0" smtClean="0"/>
            <a:t>Faculty Meetings</a:t>
          </a:r>
          <a:endParaRPr lang="en-US" sz="1100" b="1" dirty="0"/>
        </a:p>
      </dgm:t>
    </dgm:pt>
    <dgm:pt modelId="{37C3A3ED-D78B-47A5-A972-BF855206BBB2}" type="parTrans" cxnId="{C2311A98-45C8-4D83-9D81-38EEE6403EF0}">
      <dgm:prSet/>
      <dgm:spPr/>
      <dgm:t>
        <a:bodyPr/>
        <a:lstStyle/>
        <a:p>
          <a:endParaRPr lang="en-US"/>
        </a:p>
      </dgm:t>
    </dgm:pt>
    <dgm:pt modelId="{6432363E-9C79-441F-8EE3-CD2E25148E3E}" type="sibTrans" cxnId="{C2311A98-45C8-4D83-9D81-38EEE6403EF0}">
      <dgm:prSet/>
      <dgm:spPr/>
      <dgm:t>
        <a:bodyPr/>
        <a:lstStyle/>
        <a:p>
          <a:endParaRPr lang="en-US"/>
        </a:p>
      </dgm:t>
    </dgm:pt>
    <dgm:pt modelId="{1C3833A4-FF28-4FFF-B4AE-10E16AF87E95}">
      <dgm:prSet phldrT="[Text]" custT="1"/>
      <dgm:spPr/>
      <dgm:t>
        <a:bodyPr/>
        <a:lstStyle/>
        <a:p>
          <a:r>
            <a:rPr lang="en-US" sz="1100" b="1" dirty="0" smtClean="0"/>
            <a:t>Teacher Leaders</a:t>
          </a:r>
          <a:endParaRPr lang="en-US" sz="1100" b="1" dirty="0"/>
        </a:p>
      </dgm:t>
    </dgm:pt>
    <dgm:pt modelId="{30823564-45B6-43F5-9CEE-EA7345940E56}" type="parTrans" cxnId="{E08EB083-9BCE-4D60-84C1-78BD3E9F7D0D}">
      <dgm:prSet/>
      <dgm:spPr/>
      <dgm:t>
        <a:bodyPr/>
        <a:lstStyle/>
        <a:p>
          <a:endParaRPr lang="en-US"/>
        </a:p>
      </dgm:t>
    </dgm:pt>
    <dgm:pt modelId="{2DF54869-B254-40C5-884C-88AFDEF3885E}" type="sibTrans" cxnId="{E08EB083-9BCE-4D60-84C1-78BD3E9F7D0D}">
      <dgm:prSet/>
      <dgm:spPr/>
      <dgm:t>
        <a:bodyPr/>
        <a:lstStyle/>
        <a:p>
          <a:endParaRPr lang="en-US"/>
        </a:p>
      </dgm:t>
    </dgm:pt>
    <dgm:pt modelId="{F819B716-C69F-4CFA-BC0E-311C2CCAE449}">
      <dgm:prSet phldrT="[Text]" custT="1"/>
      <dgm:spPr/>
      <dgm:t>
        <a:bodyPr/>
        <a:lstStyle/>
        <a:p>
          <a:r>
            <a:rPr lang="en-US" sz="1100" b="1" dirty="0" smtClean="0"/>
            <a:t>5 Design Teams</a:t>
          </a:r>
          <a:endParaRPr lang="en-US" sz="1100" b="1" dirty="0"/>
        </a:p>
      </dgm:t>
    </dgm:pt>
    <dgm:pt modelId="{1C71A08F-F202-4E43-AF9F-21E9FD425055}" type="parTrans" cxnId="{0EB219BB-FB91-4CCD-BE0B-190039F41951}">
      <dgm:prSet/>
      <dgm:spPr/>
      <dgm:t>
        <a:bodyPr/>
        <a:lstStyle/>
        <a:p>
          <a:endParaRPr lang="en-US"/>
        </a:p>
      </dgm:t>
    </dgm:pt>
    <dgm:pt modelId="{AEBE4D36-088C-4FAE-A4EA-4F90C3B1B74C}" type="sibTrans" cxnId="{0EB219BB-FB91-4CCD-BE0B-190039F41951}">
      <dgm:prSet/>
      <dgm:spPr/>
      <dgm:t>
        <a:bodyPr/>
        <a:lstStyle/>
        <a:p>
          <a:endParaRPr lang="en-US"/>
        </a:p>
      </dgm:t>
    </dgm:pt>
    <dgm:pt modelId="{35FE7894-1C74-4B62-8A8C-41B77AB6B3A3}" type="pres">
      <dgm:prSet presAssocID="{0CC63202-16AF-4F8E-AEE2-40A5735F9462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B7C807E-6016-4914-8260-D0341D860688}" type="pres">
      <dgm:prSet presAssocID="{F15CCA12-FC80-4A4B-B7E1-145AFA08F470}" presName="node" presStyleLbl="node1" presStyleIdx="0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C5133D-2E50-4A1C-B952-AF4B90BDA7EE}" type="pres">
      <dgm:prSet presAssocID="{F15CCA12-FC80-4A4B-B7E1-145AFA08F470}" presName="spNode" presStyleCnt="0"/>
      <dgm:spPr/>
    </dgm:pt>
    <dgm:pt modelId="{C5BB1977-48E4-4828-9399-B1880106DF55}" type="pres">
      <dgm:prSet presAssocID="{73561188-009A-4885-8A12-1542A55F8B37}" presName="sibTrans" presStyleLbl="sibTrans1D1" presStyleIdx="0" presStyleCnt="9"/>
      <dgm:spPr/>
      <dgm:t>
        <a:bodyPr/>
        <a:lstStyle/>
        <a:p>
          <a:endParaRPr lang="en-US"/>
        </a:p>
      </dgm:t>
    </dgm:pt>
    <dgm:pt modelId="{55E97DCC-07FA-4A55-B881-5068AA7D58E0}" type="pres">
      <dgm:prSet presAssocID="{F819B716-C69F-4CFA-BC0E-311C2CCAE449}" presName="node" presStyleLbl="node1" presStyleIdx="1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CD6DBB-50A2-4F3E-A54F-68E973F24FDC}" type="pres">
      <dgm:prSet presAssocID="{F819B716-C69F-4CFA-BC0E-311C2CCAE449}" presName="spNode" presStyleCnt="0"/>
      <dgm:spPr/>
    </dgm:pt>
    <dgm:pt modelId="{639C107A-23BC-4D42-B92A-BDCFC037F356}" type="pres">
      <dgm:prSet presAssocID="{AEBE4D36-088C-4FAE-A4EA-4F90C3B1B74C}" presName="sibTrans" presStyleLbl="sibTrans1D1" presStyleIdx="1" presStyleCnt="9"/>
      <dgm:spPr/>
      <dgm:t>
        <a:bodyPr/>
        <a:lstStyle/>
        <a:p>
          <a:endParaRPr lang="en-US"/>
        </a:p>
      </dgm:t>
    </dgm:pt>
    <dgm:pt modelId="{7277B24B-16AF-45D8-B9CF-222C2009D39F}" type="pres">
      <dgm:prSet presAssocID="{8E970A64-9A9D-4B86-B983-842787D59D4E}" presName="node" presStyleLbl="node1" presStyleIdx="2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E32D89-5E8D-4FC6-A171-FCFEA9F3A0A0}" type="pres">
      <dgm:prSet presAssocID="{8E970A64-9A9D-4B86-B983-842787D59D4E}" presName="spNode" presStyleCnt="0"/>
      <dgm:spPr/>
    </dgm:pt>
    <dgm:pt modelId="{F0816805-BA16-4134-930C-73AAC9A3CD1D}" type="pres">
      <dgm:prSet presAssocID="{D13C3ED2-6CEB-4F69-A657-0096D3F4711A}" presName="sibTrans" presStyleLbl="sibTrans1D1" presStyleIdx="2" presStyleCnt="9"/>
      <dgm:spPr/>
      <dgm:t>
        <a:bodyPr/>
        <a:lstStyle/>
        <a:p>
          <a:endParaRPr lang="en-US"/>
        </a:p>
      </dgm:t>
    </dgm:pt>
    <dgm:pt modelId="{D750FF35-2B7C-457C-9FBB-E355C8DDCF02}" type="pres">
      <dgm:prSet presAssocID="{C7A4CB04-7525-40D3-B71B-A820E0034BA2}" presName="node" presStyleLbl="node1" presStyleIdx="3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E70965-44DB-4C89-B785-553B6BA73DC3}" type="pres">
      <dgm:prSet presAssocID="{C7A4CB04-7525-40D3-B71B-A820E0034BA2}" presName="spNode" presStyleCnt="0"/>
      <dgm:spPr/>
    </dgm:pt>
    <dgm:pt modelId="{CE0F55A5-B651-46F8-B071-10D4D062A718}" type="pres">
      <dgm:prSet presAssocID="{6432363E-9C79-441F-8EE3-CD2E25148E3E}" presName="sibTrans" presStyleLbl="sibTrans1D1" presStyleIdx="3" presStyleCnt="9"/>
      <dgm:spPr/>
      <dgm:t>
        <a:bodyPr/>
        <a:lstStyle/>
        <a:p>
          <a:endParaRPr lang="en-US"/>
        </a:p>
      </dgm:t>
    </dgm:pt>
    <dgm:pt modelId="{CF5BCB1D-22A3-4FA6-9594-848521015DEF}" type="pres">
      <dgm:prSet presAssocID="{1C3833A4-FF28-4FFF-B4AE-10E16AF87E95}" presName="node" presStyleLbl="node1" presStyleIdx="4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326D4F-1753-41C4-9B02-194AEB88047A}" type="pres">
      <dgm:prSet presAssocID="{1C3833A4-FF28-4FFF-B4AE-10E16AF87E95}" presName="spNode" presStyleCnt="0"/>
      <dgm:spPr/>
    </dgm:pt>
    <dgm:pt modelId="{02C2817F-DB29-491A-A676-7814585D09C5}" type="pres">
      <dgm:prSet presAssocID="{2DF54869-B254-40C5-884C-88AFDEF3885E}" presName="sibTrans" presStyleLbl="sibTrans1D1" presStyleIdx="4" presStyleCnt="9"/>
      <dgm:spPr/>
      <dgm:t>
        <a:bodyPr/>
        <a:lstStyle/>
        <a:p>
          <a:endParaRPr lang="en-US"/>
        </a:p>
      </dgm:t>
    </dgm:pt>
    <dgm:pt modelId="{39C787B4-6F55-4875-B17C-E78C8809FA96}" type="pres">
      <dgm:prSet presAssocID="{B9C65D17-1348-406B-AC81-802AC211714A}" presName="node" presStyleLbl="node1" presStyleIdx="5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AF53F5-040E-4C13-8C24-1A1A093465C2}" type="pres">
      <dgm:prSet presAssocID="{B9C65D17-1348-406B-AC81-802AC211714A}" presName="spNode" presStyleCnt="0"/>
      <dgm:spPr/>
    </dgm:pt>
    <dgm:pt modelId="{4538E757-0C8D-44D2-B584-623E5227702B}" type="pres">
      <dgm:prSet presAssocID="{52BB3D94-A753-4ECA-A24E-CC7FEB8070C9}" presName="sibTrans" presStyleLbl="sibTrans1D1" presStyleIdx="5" presStyleCnt="9"/>
      <dgm:spPr/>
      <dgm:t>
        <a:bodyPr/>
        <a:lstStyle/>
        <a:p>
          <a:endParaRPr lang="en-US"/>
        </a:p>
      </dgm:t>
    </dgm:pt>
    <dgm:pt modelId="{E93C1709-0EF3-4386-83E4-BBF54B9EF7C1}" type="pres">
      <dgm:prSet presAssocID="{6950F27E-792C-45B8-A590-E63B4E4F6827}" presName="node" presStyleLbl="node1" presStyleIdx="6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C3C668-8318-4F01-B8F2-1390F887269C}" type="pres">
      <dgm:prSet presAssocID="{6950F27E-792C-45B8-A590-E63B4E4F6827}" presName="spNode" presStyleCnt="0"/>
      <dgm:spPr/>
    </dgm:pt>
    <dgm:pt modelId="{265E4316-4494-4813-9070-EBFD97E0118C}" type="pres">
      <dgm:prSet presAssocID="{ED67F856-2E4D-44CE-ADEF-6A2E431BED82}" presName="sibTrans" presStyleLbl="sibTrans1D1" presStyleIdx="6" presStyleCnt="9"/>
      <dgm:spPr/>
      <dgm:t>
        <a:bodyPr/>
        <a:lstStyle/>
        <a:p>
          <a:endParaRPr lang="en-US"/>
        </a:p>
      </dgm:t>
    </dgm:pt>
    <dgm:pt modelId="{6D6BA6E2-55B5-45A7-BFE8-21FDC31C7043}" type="pres">
      <dgm:prSet presAssocID="{DC04F2DC-4C95-40B4-BF22-6E5148B323D3}" presName="node" presStyleLbl="node1" presStyleIdx="7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CAE3D4-572B-45C2-B19B-42DB600BCBA5}" type="pres">
      <dgm:prSet presAssocID="{DC04F2DC-4C95-40B4-BF22-6E5148B323D3}" presName="spNode" presStyleCnt="0"/>
      <dgm:spPr/>
    </dgm:pt>
    <dgm:pt modelId="{25DE4E5F-5333-435D-ABA3-B156EBAAC83A}" type="pres">
      <dgm:prSet presAssocID="{26E37295-4F01-4029-8541-9078C3DA9AE6}" presName="sibTrans" presStyleLbl="sibTrans1D1" presStyleIdx="7" presStyleCnt="9"/>
      <dgm:spPr/>
      <dgm:t>
        <a:bodyPr/>
        <a:lstStyle/>
        <a:p>
          <a:endParaRPr lang="en-US"/>
        </a:p>
      </dgm:t>
    </dgm:pt>
    <dgm:pt modelId="{94F638D7-484D-45C7-B60A-B44607204373}" type="pres">
      <dgm:prSet presAssocID="{8B09A7D8-4129-4644-8CBA-C44F265C5A36}" presName="node" presStyleLbl="node1" presStyleIdx="8" presStyleCnt="9" custAng="0" custScaleX="1356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2ACD79-F10C-4EAC-BFDC-33B6BFBF5725}" type="pres">
      <dgm:prSet presAssocID="{8B09A7D8-4129-4644-8CBA-C44F265C5A36}" presName="spNode" presStyleCnt="0"/>
      <dgm:spPr/>
    </dgm:pt>
    <dgm:pt modelId="{55D109C8-DF05-4262-9950-AC17F113218F}" type="pres">
      <dgm:prSet presAssocID="{E0E22E78-CC24-4E0A-AE5E-3D630FE8D55F}" presName="sibTrans" presStyleLbl="sibTrans1D1" presStyleIdx="8" presStyleCnt="9"/>
      <dgm:spPr/>
      <dgm:t>
        <a:bodyPr/>
        <a:lstStyle/>
        <a:p>
          <a:endParaRPr lang="en-US"/>
        </a:p>
      </dgm:t>
    </dgm:pt>
  </dgm:ptLst>
  <dgm:cxnLst>
    <dgm:cxn modelId="{82DF6D1B-5833-4848-B6DA-D36133E0F799}" type="presOf" srcId="{2DF54869-B254-40C5-884C-88AFDEF3885E}" destId="{02C2817F-DB29-491A-A676-7814585D09C5}" srcOrd="0" destOrd="0" presId="urn:microsoft.com/office/officeart/2005/8/layout/cycle6"/>
    <dgm:cxn modelId="{0F377221-6349-5744-8441-EBF9FFD9E254}" type="presOf" srcId="{E0E22E78-CC24-4E0A-AE5E-3D630FE8D55F}" destId="{55D109C8-DF05-4262-9950-AC17F113218F}" srcOrd="0" destOrd="0" presId="urn:microsoft.com/office/officeart/2005/8/layout/cycle6"/>
    <dgm:cxn modelId="{5B3EDDEA-F60C-482B-A9D7-3000207D2287}" srcId="{0CC63202-16AF-4F8E-AEE2-40A5735F9462}" destId="{6950F27E-792C-45B8-A590-E63B4E4F6827}" srcOrd="6" destOrd="0" parTransId="{9904FD41-ECA2-4577-8217-1BF7A7B969B6}" sibTransId="{ED67F856-2E4D-44CE-ADEF-6A2E431BED82}"/>
    <dgm:cxn modelId="{87C26219-4525-BB43-8826-08D97573D975}" type="presOf" srcId="{8E970A64-9A9D-4B86-B983-842787D59D4E}" destId="{7277B24B-16AF-45D8-B9CF-222C2009D39F}" srcOrd="0" destOrd="0" presId="urn:microsoft.com/office/officeart/2005/8/layout/cycle6"/>
    <dgm:cxn modelId="{75F57067-6730-6E42-B8B4-4DC3A790B6CB}" type="presOf" srcId="{D13C3ED2-6CEB-4F69-A657-0096D3F4711A}" destId="{F0816805-BA16-4134-930C-73AAC9A3CD1D}" srcOrd="0" destOrd="0" presId="urn:microsoft.com/office/officeart/2005/8/layout/cycle6"/>
    <dgm:cxn modelId="{33799D60-4AEE-4231-B798-8D419539FFC1}" srcId="{0CC63202-16AF-4F8E-AEE2-40A5735F9462}" destId="{8B09A7D8-4129-4644-8CBA-C44F265C5A36}" srcOrd="8" destOrd="0" parTransId="{8D520E90-5F95-4BEF-A3A5-CAB0DA1BD929}" sibTransId="{E0E22E78-CC24-4E0A-AE5E-3D630FE8D55F}"/>
    <dgm:cxn modelId="{273D66DC-C087-184E-84DD-F500BB9C5058}" type="presOf" srcId="{26E37295-4F01-4029-8541-9078C3DA9AE6}" destId="{25DE4E5F-5333-435D-ABA3-B156EBAAC83A}" srcOrd="0" destOrd="0" presId="urn:microsoft.com/office/officeart/2005/8/layout/cycle6"/>
    <dgm:cxn modelId="{5739D117-0C35-FB43-A236-FA99ACCA7E46}" type="presOf" srcId="{B9C65D17-1348-406B-AC81-802AC211714A}" destId="{39C787B4-6F55-4875-B17C-E78C8809FA96}" srcOrd="0" destOrd="0" presId="urn:microsoft.com/office/officeart/2005/8/layout/cycle6"/>
    <dgm:cxn modelId="{E08EB083-9BCE-4D60-84C1-78BD3E9F7D0D}" srcId="{0CC63202-16AF-4F8E-AEE2-40A5735F9462}" destId="{1C3833A4-FF28-4FFF-B4AE-10E16AF87E95}" srcOrd="4" destOrd="0" parTransId="{30823564-45B6-43F5-9CEE-EA7345940E56}" sibTransId="{2DF54869-B254-40C5-884C-88AFDEF3885E}"/>
    <dgm:cxn modelId="{C2311A98-45C8-4D83-9D81-38EEE6403EF0}" srcId="{0CC63202-16AF-4F8E-AEE2-40A5735F9462}" destId="{C7A4CB04-7525-40D3-B71B-A820E0034BA2}" srcOrd="3" destOrd="0" parTransId="{37C3A3ED-D78B-47A5-A972-BF855206BBB2}" sibTransId="{6432363E-9C79-441F-8EE3-CD2E25148E3E}"/>
    <dgm:cxn modelId="{5BACBA55-A1E5-3D47-B1BA-81FE67920A3C}" type="presOf" srcId="{C7A4CB04-7525-40D3-B71B-A820E0034BA2}" destId="{D750FF35-2B7C-457C-9FBB-E355C8DDCF02}" srcOrd="0" destOrd="0" presId="urn:microsoft.com/office/officeart/2005/8/layout/cycle6"/>
    <dgm:cxn modelId="{1AD23298-4850-4A14-862B-82B143800929}" srcId="{0CC63202-16AF-4F8E-AEE2-40A5735F9462}" destId="{8E970A64-9A9D-4B86-B983-842787D59D4E}" srcOrd="2" destOrd="0" parTransId="{0FA48D80-4FE2-4992-BAE5-9A2F442AB58D}" sibTransId="{D13C3ED2-6CEB-4F69-A657-0096D3F4711A}"/>
    <dgm:cxn modelId="{63F1DE03-BFE3-F042-B7FF-ACEA942BF0EE}" type="presOf" srcId="{0CC63202-16AF-4F8E-AEE2-40A5735F9462}" destId="{35FE7894-1C74-4B62-8A8C-41B77AB6B3A3}" srcOrd="0" destOrd="0" presId="urn:microsoft.com/office/officeart/2005/8/layout/cycle6"/>
    <dgm:cxn modelId="{A214C2CE-A596-DF43-8297-6F048556F849}" type="presOf" srcId="{ED67F856-2E4D-44CE-ADEF-6A2E431BED82}" destId="{265E4316-4494-4813-9070-EBFD97E0118C}" srcOrd="0" destOrd="0" presId="urn:microsoft.com/office/officeart/2005/8/layout/cycle6"/>
    <dgm:cxn modelId="{863A5012-3FE3-48F9-B127-9BF888883FAD}" srcId="{0CC63202-16AF-4F8E-AEE2-40A5735F9462}" destId="{F15CCA12-FC80-4A4B-B7E1-145AFA08F470}" srcOrd="0" destOrd="0" parTransId="{DD32894E-44D4-4285-9F53-409F99D2CC46}" sibTransId="{73561188-009A-4885-8A12-1542A55F8B37}"/>
    <dgm:cxn modelId="{EDCEC1AD-F965-134C-9950-E30F5D50350D}" type="presOf" srcId="{6432363E-9C79-441F-8EE3-CD2E25148E3E}" destId="{CE0F55A5-B651-46F8-B071-10D4D062A718}" srcOrd="0" destOrd="0" presId="urn:microsoft.com/office/officeart/2005/8/layout/cycle6"/>
    <dgm:cxn modelId="{07C11667-1395-44B9-BB5A-A71F1E11DE38}" srcId="{0CC63202-16AF-4F8E-AEE2-40A5735F9462}" destId="{B9C65D17-1348-406B-AC81-802AC211714A}" srcOrd="5" destOrd="0" parTransId="{A276A738-431B-4AB0-A145-FDCCF7B344E1}" sibTransId="{52BB3D94-A753-4ECA-A24E-CC7FEB8070C9}"/>
    <dgm:cxn modelId="{E800C22E-6BE7-A045-8092-1678FE05F9D3}" type="presOf" srcId="{52BB3D94-A753-4ECA-A24E-CC7FEB8070C9}" destId="{4538E757-0C8D-44D2-B584-623E5227702B}" srcOrd="0" destOrd="0" presId="urn:microsoft.com/office/officeart/2005/8/layout/cycle6"/>
    <dgm:cxn modelId="{DE7C8FB1-ACE5-4C41-8A88-BE7E7D28EBE6}" type="presOf" srcId="{8B09A7D8-4129-4644-8CBA-C44F265C5A36}" destId="{94F638D7-484D-45C7-B60A-B44607204373}" srcOrd="0" destOrd="0" presId="urn:microsoft.com/office/officeart/2005/8/layout/cycle6"/>
    <dgm:cxn modelId="{B9D1EB65-23D7-CB45-8F4D-0EBE978016D6}" type="presOf" srcId="{F819B716-C69F-4CFA-BC0E-311C2CCAE449}" destId="{55E97DCC-07FA-4A55-B881-5068AA7D58E0}" srcOrd="0" destOrd="0" presId="urn:microsoft.com/office/officeart/2005/8/layout/cycle6"/>
    <dgm:cxn modelId="{0EB219BB-FB91-4CCD-BE0B-190039F41951}" srcId="{0CC63202-16AF-4F8E-AEE2-40A5735F9462}" destId="{F819B716-C69F-4CFA-BC0E-311C2CCAE449}" srcOrd="1" destOrd="0" parTransId="{1C71A08F-F202-4E43-AF9F-21E9FD425055}" sibTransId="{AEBE4D36-088C-4FAE-A4EA-4F90C3B1B74C}"/>
    <dgm:cxn modelId="{A5F6967B-B63C-C046-9243-5FF95CC03BD9}" type="presOf" srcId="{6950F27E-792C-45B8-A590-E63B4E4F6827}" destId="{E93C1709-0EF3-4386-83E4-BBF54B9EF7C1}" srcOrd="0" destOrd="0" presId="urn:microsoft.com/office/officeart/2005/8/layout/cycle6"/>
    <dgm:cxn modelId="{6515631D-6404-0242-903D-894DBD9F8EC5}" type="presOf" srcId="{1C3833A4-FF28-4FFF-B4AE-10E16AF87E95}" destId="{CF5BCB1D-22A3-4FA6-9594-848521015DEF}" srcOrd="0" destOrd="0" presId="urn:microsoft.com/office/officeart/2005/8/layout/cycle6"/>
    <dgm:cxn modelId="{523A98EA-B038-174C-B19A-91FBA8A025A6}" type="presOf" srcId="{DC04F2DC-4C95-40B4-BF22-6E5148B323D3}" destId="{6D6BA6E2-55B5-45A7-BFE8-21FDC31C7043}" srcOrd="0" destOrd="0" presId="urn:microsoft.com/office/officeart/2005/8/layout/cycle6"/>
    <dgm:cxn modelId="{ACA52C30-C386-A54D-9323-8A331EC52030}" type="presOf" srcId="{AEBE4D36-088C-4FAE-A4EA-4F90C3B1B74C}" destId="{639C107A-23BC-4D42-B92A-BDCFC037F356}" srcOrd="0" destOrd="0" presId="urn:microsoft.com/office/officeart/2005/8/layout/cycle6"/>
    <dgm:cxn modelId="{6B0C9D84-AA36-40E4-A979-C2A27EEC1717}" srcId="{0CC63202-16AF-4F8E-AEE2-40A5735F9462}" destId="{DC04F2DC-4C95-40B4-BF22-6E5148B323D3}" srcOrd="7" destOrd="0" parTransId="{6E49C93E-E654-414F-81B2-05C52B1E66AE}" sibTransId="{26E37295-4F01-4029-8541-9078C3DA9AE6}"/>
    <dgm:cxn modelId="{0D97072C-8006-024B-B536-6618ED74B5A7}" type="presOf" srcId="{F15CCA12-FC80-4A4B-B7E1-145AFA08F470}" destId="{DB7C807E-6016-4914-8260-D0341D860688}" srcOrd="0" destOrd="0" presId="urn:microsoft.com/office/officeart/2005/8/layout/cycle6"/>
    <dgm:cxn modelId="{DD4BAEC8-441C-DC4F-87CE-DFC4E5618262}" type="presOf" srcId="{73561188-009A-4885-8A12-1542A55F8B37}" destId="{C5BB1977-48E4-4828-9399-B1880106DF55}" srcOrd="0" destOrd="0" presId="urn:microsoft.com/office/officeart/2005/8/layout/cycle6"/>
    <dgm:cxn modelId="{B3D2341D-8C78-6644-ADE6-B58F8890D31E}" type="presParOf" srcId="{35FE7894-1C74-4B62-8A8C-41B77AB6B3A3}" destId="{DB7C807E-6016-4914-8260-D0341D860688}" srcOrd="0" destOrd="0" presId="urn:microsoft.com/office/officeart/2005/8/layout/cycle6"/>
    <dgm:cxn modelId="{C3786D69-06B5-3D40-843E-BEEC886DFCAA}" type="presParOf" srcId="{35FE7894-1C74-4B62-8A8C-41B77AB6B3A3}" destId="{F3C5133D-2E50-4A1C-B952-AF4B90BDA7EE}" srcOrd="1" destOrd="0" presId="urn:microsoft.com/office/officeart/2005/8/layout/cycle6"/>
    <dgm:cxn modelId="{C7FA6C7D-C8B5-964C-BBD2-C6D61B3B1CBE}" type="presParOf" srcId="{35FE7894-1C74-4B62-8A8C-41B77AB6B3A3}" destId="{C5BB1977-48E4-4828-9399-B1880106DF55}" srcOrd="2" destOrd="0" presId="urn:microsoft.com/office/officeart/2005/8/layout/cycle6"/>
    <dgm:cxn modelId="{02A5F666-D954-714A-8274-DC75FB892243}" type="presParOf" srcId="{35FE7894-1C74-4B62-8A8C-41B77AB6B3A3}" destId="{55E97DCC-07FA-4A55-B881-5068AA7D58E0}" srcOrd="3" destOrd="0" presId="urn:microsoft.com/office/officeart/2005/8/layout/cycle6"/>
    <dgm:cxn modelId="{83401EAB-8312-FD49-B063-AE7AAB72BDEF}" type="presParOf" srcId="{35FE7894-1C74-4B62-8A8C-41B77AB6B3A3}" destId="{D5CD6DBB-50A2-4F3E-A54F-68E973F24FDC}" srcOrd="4" destOrd="0" presId="urn:microsoft.com/office/officeart/2005/8/layout/cycle6"/>
    <dgm:cxn modelId="{EE657C44-0E7E-7541-911A-52BEFA303199}" type="presParOf" srcId="{35FE7894-1C74-4B62-8A8C-41B77AB6B3A3}" destId="{639C107A-23BC-4D42-B92A-BDCFC037F356}" srcOrd="5" destOrd="0" presId="urn:microsoft.com/office/officeart/2005/8/layout/cycle6"/>
    <dgm:cxn modelId="{B4944CB5-B105-1640-817F-DC3F2EBAED87}" type="presParOf" srcId="{35FE7894-1C74-4B62-8A8C-41B77AB6B3A3}" destId="{7277B24B-16AF-45D8-B9CF-222C2009D39F}" srcOrd="6" destOrd="0" presId="urn:microsoft.com/office/officeart/2005/8/layout/cycle6"/>
    <dgm:cxn modelId="{282746A7-F0C3-BD42-86A6-77761378C4DB}" type="presParOf" srcId="{35FE7894-1C74-4B62-8A8C-41B77AB6B3A3}" destId="{8CE32D89-5E8D-4FC6-A171-FCFEA9F3A0A0}" srcOrd="7" destOrd="0" presId="urn:microsoft.com/office/officeart/2005/8/layout/cycle6"/>
    <dgm:cxn modelId="{0F9A8FAA-B2A7-1B4A-B6F9-1980195E2D35}" type="presParOf" srcId="{35FE7894-1C74-4B62-8A8C-41B77AB6B3A3}" destId="{F0816805-BA16-4134-930C-73AAC9A3CD1D}" srcOrd="8" destOrd="0" presId="urn:microsoft.com/office/officeart/2005/8/layout/cycle6"/>
    <dgm:cxn modelId="{8ADA0978-6464-4F4D-AEF8-839C445AE032}" type="presParOf" srcId="{35FE7894-1C74-4B62-8A8C-41B77AB6B3A3}" destId="{D750FF35-2B7C-457C-9FBB-E355C8DDCF02}" srcOrd="9" destOrd="0" presId="urn:microsoft.com/office/officeart/2005/8/layout/cycle6"/>
    <dgm:cxn modelId="{E55215E5-0AA6-D240-8FCB-7A6B60F95EB9}" type="presParOf" srcId="{35FE7894-1C74-4B62-8A8C-41B77AB6B3A3}" destId="{8FE70965-44DB-4C89-B785-553B6BA73DC3}" srcOrd="10" destOrd="0" presId="urn:microsoft.com/office/officeart/2005/8/layout/cycle6"/>
    <dgm:cxn modelId="{CABA89BD-DFB2-314B-A107-0054E30B12A3}" type="presParOf" srcId="{35FE7894-1C74-4B62-8A8C-41B77AB6B3A3}" destId="{CE0F55A5-B651-46F8-B071-10D4D062A718}" srcOrd="11" destOrd="0" presId="urn:microsoft.com/office/officeart/2005/8/layout/cycle6"/>
    <dgm:cxn modelId="{C79B05BD-AA35-E14F-A4B5-D70F71B03CDE}" type="presParOf" srcId="{35FE7894-1C74-4B62-8A8C-41B77AB6B3A3}" destId="{CF5BCB1D-22A3-4FA6-9594-848521015DEF}" srcOrd="12" destOrd="0" presId="urn:microsoft.com/office/officeart/2005/8/layout/cycle6"/>
    <dgm:cxn modelId="{1CB550C3-C26A-9549-9B41-246A5D354E1E}" type="presParOf" srcId="{35FE7894-1C74-4B62-8A8C-41B77AB6B3A3}" destId="{61326D4F-1753-41C4-9B02-194AEB88047A}" srcOrd="13" destOrd="0" presId="urn:microsoft.com/office/officeart/2005/8/layout/cycle6"/>
    <dgm:cxn modelId="{F24AB067-6640-5940-812A-EC3000EB6979}" type="presParOf" srcId="{35FE7894-1C74-4B62-8A8C-41B77AB6B3A3}" destId="{02C2817F-DB29-491A-A676-7814585D09C5}" srcOrd="14" destOrd="0" presId="urn:microsoft.com/office/officeart/2005/8/layout/cycle6"/>
    <dgm:cxn modelId="{15506E3E-59C0-C74F-B8FC-F2A1506E7054}" type="presParOf" srcId="{35FE7894-1C74-4B62-8A8C-41B77AB6B3A3}" destId="{39C787B4-6F55-4875-B17C-E78C8809FA96}" srcOrd="15" destOrd="0" presId="urn:microsoft.com/office/officeart/2005/8/layout/cycle6"/>
    <dgm:cxn modelId="{B0863D3C-8F00-094A-9ADD-2006CFACBF80}" type="presParOf" srcId="{35FE7894-1C74-4B62-8A8C-41B77AB6B3A3}" destId="{E1AF53F5-040E-4C13-8C24-1A1A093465C2}" srcOrd="16" destOrd="0" presId="urn:microsoft.com/office/officeart/2005/8/layout/cycle6"/>
    <dgm:cxn modelId="{453E88DA-A9BD-8B43-B400-81FA1C1CF332}" type="presParOf" srcId="{35FE7894-1C74-4B62-8A8C-41B77AB6B3A3}" destId="{4538E757-0C8D-44D2-B584-623E5227702B}" srcOrd="17" destOrd="0" presId="urn:microsoft.com/office/officeart/2005/8/layout/cycle6"/>
    <dgm:cxn modelId="{61E5FF26-4F58-A543-A3D8-6E51BF729216}" type="presParOf" srcId="{35FE7894-1C74-4B62-8A8C-41B77AB6B3A3}" destId="{E93C1709-0EF3-4386-83E4-BBF54B9EF7C1}" srcOrd="18" destOrd="0" presId="urn:microsoft.com/office/officeart/2005/8/layout/cycle6"/>
    <dgm:cxn modelId="{9863556A-E4C7-3E4A-86E8-891B09EE7B14}" type="presParOf" srcId="{35FE7894-1C74-4B62-8A8C-41B77AB6B3A3}" destId="{92C3C668-8318-4F01-B8F2-1390F887269C}" srcOrd="19" destOrd="0" presId="urn:microsoft.com/office/officeart/2005/8/layout/cycle6"/>
    <dgm:cxn modelId="{641BFC9A-844A-E04B-A764-6B3BFF68918D}" type="presParOf" srcId="{35FE7894-1C74-4B62-8A8C-41B77AB6B3A3}" destId="{265E4316-4494-4813-9070-EBFD97E0118C}" srcOrd="20" destOrd="0" presId="urn:microsoft.com/office/officeart/2005/8/layout/cycle6"/>
    <dgm:cxn modelId="{71D50B1E-9E3A-9D44-86DA-95656C7AFF10}" type="presParOf" srcId="{35FE7894-1C74-4B62-8A8C-41B77AB6B3A3}" destId="{6D6BA6E2-55B5-45A7-BFE8-21FDC31C7043}" srcOrd="21" destOrd="0" presId="urn:microsoft.com/office/officeart/2005/8/layout/cycle6"/>
    <dgm:cxn modelId="{F889D209-2B7D-6D47-9482-5D3C44D481D5}" type="presParOf" srcId="{35FE7894-1C74-4B62-8A8C-41B77AB6B3A3}" destId="{1ECAE3D4-572B-45C2-B19B-42DB600BCBA5}" srcOrd="22" destOrd="0" presId="urn:microsoft.com/office/officeart/2005/8/layout/cycle6"/>
    <dgm:cxn modelId="{1AA08ABB-DF92-3040-AD22-A196C0BE77C6}" type="presParOf" srcId="{35FE7894-1C74-4B62-8A8C-41B77AB6B3A3}" destId="{25DE4E5F-5333-435D-ABA3-B156EBAAC83A}" srcOrd="23" destOrd="0" presId="urn:microsoft.com/office/officeart/2005/8/layout/cycle6"/>
    <dgm:cxn modelId="{F4ECF08A-D7A6-C448-9854-89E67A4017FC}" type="presParOf" srcId="{35FE7894-1C74-4B62-8A8C-41B77AB6B3A3}" destId="{94F638D7-484D-45C7-B60A-B44607204373}" srcOrd="24" destOrd="0" presId="urn:microsoft.com/office/officeart/2005/8/layout/cycle6"/>
    <dgm:cxn modelId="{2E2B29F8-1D60-1344-B2F4-6D14854EF057}" type="presParOf" srcId="{35FE7894-1C74-4B62-8A8C-41B77AB6B3A3}" destId="{A82ACD79-F10C-4EAC-BFDC-33B6BFBF5725}" srcOrd="25" destOrd="0" presId="urn:microsoft.com/office/officeart/2005/8/layout/cycle6"/>
    <dgm:cxn modelId="{6E63690A-9287-C24E-A3E8-042FF2C69346}" type="presParOf" srcId="{35FE7894-1C74-4B62-8A8C-41B77AB6B3A3}" destId="{55D109C8-DF05-4262-9950-AC17F113218F}" srcOrd="26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46ECE86-537D-4AFC-8CAE-71D79DAC9958}" type="doc">
      <dgm:prSet loTypeId="urn:microsoft.com/office/officeart/2005/8/layout/hList6" loCatId="list" qsTypeId="urn:microsoft.com/office/officeart/2005/8/quickstyle/3d2" qsCatId="3D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CBBAB193-4662-4F4C-A75C-715CFF04A417}">
      <dgm:prSet phldrT="[Text]" custT="1"/>
      <dgm:spPr/>
      <dgm:t>
        <a:bodyPr/>
        <a:lstStyle/>
        <a:p>
          <a:r>
            <a:rPr lang="en-US" sz="1800" b="1" u="sng" dirty="0" smtClean="0"/>
            <a:t>Spring 2011</a:t>
          </a:r>
        </a:p>
        <a:p>
          <a:r>
            <a:rPr lang="en-US" sz="1200" b="1" dirty="0" smtClean="0"/>
            <a:t>Tripod survey piloted in 16 schools</a:t>
          </a:r>
          <a:endParaRPr lang="en-US" sz="1800" b="1" u="sng" dirty="0"/>
        </a:p>
      </dgm:t>
    </dgm:pt>
    <dgm:pt modelId="{1D698FE7-65FF-4087-900C-5120EAC2AD7C}" type="parTrans" cxnId="{01E3642A-C0B0-4D94-AF7C-F816A5C83E47}">
      <dgm:prSet/>
      <dgm:spPr/>
      <dgm:t>
        <a:bodyPr/>
        <a:lstStyle/>
        <a:p>
          <a:endParaRPr lang="en-US" sz="1800" b="1"/>
        </a:p>
      </dgm:t>
    </dgm:pt>
    <dgm:pt modelId="{BD9B1EFF-AAE8-4BE8-806C-510452A224FF}" type="sibTrans" cxnId="{01E3642A-C0B0-4D94-AF7C-F816A5C83E47}">
      <dgm:prSet/>
      <dgm:spPr/>
      <dgm:t>
        <a:bodyPr/>
        <a:lstStyle/>
        <a:p>
          <a:endParaRPr lang="en-US" sz="1800" b="1"/>
        </a:p>
      </dgm:t>
    </dgm:pt>
    <dgm:pt modelId="{C70C4A76-5313-4B95-8113-9F96FA2FE20A}">
      <dgm:prSet phldrT="[Text]" custT="1"/>
      <dgm:spPr/>
      <dgm:t>
        <a:bodyPr/>
        <a:lstStyle/>
        <a:p>
          <a:r>
            <a:rPr lang="en-US" sz="1800" b="1" u="sng" dirty="0" smtClean="0"/>
            <a:t>2011-12</a:t>
          </a:r>
        </a:p>
        <a:p>
          <a:r>
            <a:rPr lang="en-US" sz="1200" b="1" dirty="0" smtClean="0"/>
            <a:t>DPS-modified survey piloted in 127 schools</a:t>
          </a:r>
          <a:endParaRPr lang="en-US" sz="1600" b="1" u="sng" dirty="0" smtClean="0"/>
        </a:p>
      </dgm:t>
    </dgm:pt>
    <dgm:pt modelId="{58D11B3F-9C03-408A-9CD2-E2A2D679780F}" type="parTrans" cxnId="{7E592740-5FA9-4185-AB2C-FF37052551CB}">
      <dgm:prSet/>
      <dgm:spPr/>
      <dgm:t>
        <a:bodyPr/>
        <a:lstStyle/>
        <a:p>
          <a:endParaRPr lang="en-US" sz="1800" b="1"/>
        </a:p>
      </dgm:t>
    </dgm:pt>
    <dgm:pt modelId="{A907FB76-A237-4093-BEF5-51CD652D1CB3}" type="sibTrans" cxnId="{7E592740-5FA9-4185-AB2C-FF37052551CB}">
      <dgm:prSet/>
      <dgm:spPr/>
      <dgm:t>
        <a:bodyPr/>
        <a:lstStyle/>
        <a:p>
          <a:endParaRPr lang="en-US" sz="1800" b="1"/>
        </a:p>
      </dgm:t>
    </dgm:pt>
    <dgm:pt modelId="{119423AE-D75F-4932-A61D-B72AAE0D355F}">
      <dgm:prSet phldrT="[Text]" custT="1"/>
      <dgm:spPr/>
      <dgm:t>
        <a:bodyPr/>
        <a:lstStyle/>
        <a:p>
          <a:r>
            <a:rPr lang="en-US" sz="1800" b="1" u="sng" dirty="0" smtClean="0"/>
            <a:t>2012-2013</a:t>
          </a:r>
          <a:endParaRPr lang="en-US" sz="1600" b="1" u="sng" dirty="0" smtClean="0"/>
        </a:p>
        <a:p>
          <a:r>
            <a:rPr lang="en-US" sz="1200" b="1" dirty="0" smtClean="0"/>
            <a:t>Survey expanded to include questions on rigor (9-29 Q’s)</a:t>
          </a:r>
          <a:endParaRPr lang="en-US" sz="1600" b="1" u="sng" dirty="0"/>
        </a:p>
      </dgm:t>
    </dgm:pt>
    <dgm:pt modelId="{DBAE01DE-0904-49D5-B813-DFC66CE11CB7}" type="parTrans" cxnId="{240A3FA6-49F7-4384-AFF8-233B66B3575B}">
      <dgm:prSet/>
      <dgm:spPr/>
      <dgm:t>
        <a:bodyPr/>
        <a:lstStyle/>
        <a:p>
          <a:endParaRPr lang="en-US" sz="1800" b="1"/>
        </a:p>
      </dgm:t>
    </dgm:pt>
    <dgm:pt modelId="{8830A6BE-2070-4A2D-B20F-FBB15C73F3C6}" type="sibTrans" cxnId="{240A3FA6-49F7-4384-AFF8-233B66B3575B}">
      <dgm:prSet/>
      <dgm:spPr/>
      <dgm:t>
        <a:bodyPr/>
        <a:lstStyle/>
        <a:p>
          <a:endParaRPr lang="en-US" sz="1800" b="1"/>
        </a:p>
      </dgm:t>
    </dgm:pt>
    <dgm:pt modelId="{4B45D5CD-64FF-4223-9C2D-94D90CF9B06D}">
      <dgm:prSet phldrT="[Text]" custT="1"/>
      <dgm:spPr/>
      <dgm:t>
        <a:bodyPr/>
        <a:lstStyle/>
        <a:p>
          <a:r>
            <a:rPr lang="en-US" sz="1200" b="0" dirty="0" smtClean="0"/>
            <a:t>All LEAP schools participated in grades 3-5 and 6-12 surveys</a:t>
          </a:r>
          <a:endParaRPr lang="en-US" sz="1200" b="0" dirty="0"/>
        </a:p>
      </dgm:t>
    </dgm:pt>
    <dgm:pt modelId="{8D730641-FFFD-42A7-AD68-F821B00A732A}" type="parTrans" cxnId="{5DF137C0-9199-48E2-B7B6-82D90F929EBC}">
      <dgm:prSet/>
      <dgm:spPr/>
      <dgm:t>
        <a:bodyPr/>
        <a:lstStyle/>
        <a:p>
          <a:endParaRPr lang="en-US" sz="1800" b="1"/>
        </a:p>
      </dgm:t>
    </dgm:pt>
    <dgm:pt modelId="{CBE23342-D676-4BE2-BE9C-65DB54331255}" type="sibTrans" cxnId="{5DF137C0-9199-48E2-B7B6-82D90F929EBC}">
      <dgm:prSet/>
      <dgm:spPr/>
      <dgm:t>
        <a:bodyPr/>
        <a:lstStyle/>
        <a:p>
          <a:endParaRPr lang="en-US" sz="1800" b="1"/>
        </a:p>
      </dgm:t>
    </dgm:pt>
    <dgm:pt modelId="{D0FBE0CC-2510-489A-B7F2-0516FDD1C592}">
      <dgm:prSet phldrT="[Text]" custT="1"/>
      <dgm:spPr/>
      <dgm:t>
        <a:bodyPr/>
        <a:lstStyle/>
        <a:p>
          <a:r>
            <a:rPr lang="en-US" sz="1200" b="0" dirty="0" smtClean="0"/>
            <a:t>Survey for grades ECE-2 piloted (optional)</a:t>
          </a:r>
          <a:endParaRPr lang="en-US" sz="1200" b="1" dirty="0"/>
        </a:p>
      </dgm:t>
    </dgm:pt>
    <dgm:pt modelId="{49E090FD-F63B-4C6A-827C-949039DC872D}" type="parTrans" cxnId="{AD9ECD81-066E-43DB-A4E0-39647CDCBAF7}">
      <dgm:prSet/>
      <dgm:spPr/>
      <dgm:t>
        <a:bodyPr/>
        <a:lstStyle/>
        <a:p>
          <a:endParaRPr lang="en-US" sz="1800" b="1"/>
        </a:p>
      </dgm:t>
    </dgm:pt>
    <dgm:pt modelId="{C4495019-D7AB-4D4A-92A7-103D0A56EEFF}" type="sibTrans" cxnId="{AD9ECD81-066E-43DB-A4E0-39647CDCBAF7}">
      <dgm:prSet/>
      <dgm:spPr/>
      <dgm:t>
        <a:bodyPr/>
        <a:lstStyle/>
        <a:p>
          <a:endParaRPr lang="en-US" sz="1800" b="1"/>
        </a:p>
      </dgm:t>
    </dgm:pt>
    <dgm:pt modelId="{1EF2E48B-F1AC-49FE-BA15-53E21ACD0AA4}">
      <dgm:prSet custT="1"/>
      <dgm:spPr/>
      <dgm:t>
        <a:bodyPr/>
        <a:lstStyle/>
        <a:p>
          <a:endParaRPr lang="en-US" sz="1200" b="1" dirty="0"/>
        </a:p>
      </dgm:t>
    </dgm:pt>
    <dgm:pt modelId="{C8D18D8B-E27F-41DA-BAE6-845593ACB886}" type="parTrans" cxnId="{E842399C-60A1-405C-8703-0FCB5CD7B0F8}">
      <dgm:prSet/>
      <dgm:spPr/>
      <dgm:t>
        <a:bodyPr/>
        <a:lstStyle/>
        <a:p>
          <a:endParaRPr lang="en-US" sz="1800" b="1"/>
        </a:p>
      </dgm:t>
    </dgm:pt>
    <dgm:pt modelId="{19691C32-8431-4B95-8B43-9B16F8AF3A7B}" type="sibTrans" cxnId="{E842399C-60A1-405C-8703-0FCB5CD7B0F8}">
      <dgm:prSet/>
      <dgm:spPr/>
      <dgm:t>
        <a:bodyPr/>
        <a:lstStyle/>
        <a:p>
          <a:endParaRPr lang="en-US" sz="1800" b="1"/>
        </a:p>
      </dgm:t>
    </dgm:pt>
    <dgm:pt modelId="{1A710127-3F7A-4801-BFAF-A1074A931DB2}">
      <dgm:prSet custT="1"/>
      <dgm:spPr/>
      <dgm:t>
        <a:bodyPr/>
        <a:lstStyle/>
        <a:p>
          <a:r>
            <a:rPr lang="en-US" sz="1200" b="1" dirty="0" smtClean="0"/>
            <a:t>Feedback:</a:t>
          </a:r>
          <a:endParaRPr lang="en-US" sz="1200" b="1" dirty="0"/>
        </a:p>
      </dgm:t>
    </dgm:pt>
    <dgm:pt modelId="{350696DE-455D-4DE2-8685-29FBDAAA3478}" type="parTrans" cxnId="{869C5939-6B02-43EF-9C46-AED9EEBCDF57}">
      <dgm:prSet/>
      <dgm:spPr/>
      <dgm:t>
        <a:bodyPr/>
        <a:lstStyle/>
        <a:p>
          <a:endParaRPr lang="en-US" sz="1800" b="1"/>
        </a:p>
      </dgm:t>
    </dgm:pt>
    <dgm:pt modelId="{4312B109-631F-4053-8F46-59A3E7433EBD}" type="sibTrans" cxnId="{869C5939-6B02-43EF-9C46-AED9EEBCDF57}">
      <dgm:prSet/>
      <dgm:spPr/>
      <dgm:t>
        <a:bodyPr/>
        <a:lstStyle/>
        <a:p>
          <a:endParaRPr lang="en-US" sz="1800" b="1"/>
        </a:p>
      </dgm:t>
    </dgm:pt>
    <dgm:pt modelId="{E7F8C144-623D-4C79-9982-A0E439CBEE24}">
      <dgm:prSet custT="1"/>
      <dgm:spPr/>
      <dgm:t>
        <a:bodyPr/>
        <a:lstStyle/>
        <a:p>
          <a:r>
            <a:rPr lang="en-US" sz="1200" b="0" dirty="0" smtClean="0"/>
            <a:t>Too long (75+ questions)</a:t>
          </a:r>
          <a:endParaRPr lang="en-US" sz="1200" b="0" dirty="0"/>
        </a:p>
      </dgm:t>
    </dgm:pt>
    <dgm:pt modelId="{013D9BA2-A513-4171-91A9-6B54C4493335}" type="parTrans" cxnId="{8B934F61-CB79-4D5A-8C2A-AD4AD2FD7B82}">
      <dgm:prSet/>
      <dgm:spPr/>
      <dgm:t>
        <a:bodyPr/>
        <a:lstStyle/>
        <a:p>
          <a:endParaRPr lang="en-US" sz="1800" b="1"/>
        </a:p>
      </dgm:t>
    </dgm:pt>
    <dgm:pt modelId="{EC7E0F60-212D-49C6-A14A-BFCB5E3CC734}" type="sibTrans" cxnId="{8B934F61-CB79-4D5A-8C2A-AD4AD2FD7B82}">
      <dgm:prSet/>
      <dgm:spPr/>
      <dgm:t>
        <a:bodyPr/>
        <a:lstStyle/>
        <a:p>
          <a:endParaRPr lang="en-US" sz="1800" b="1"/>
        </a:p>
      </dgm:t>
    </dgm:pt>
    <dgm:pt modelId="{E46EEE8E-F14C-44DE-9E60-9763F3230810}">
      <dgm:prSet custT="1"/>
      <dgm:spPr/>
      <dgm:t>
        <a:bodyPr/>
        <a:lstStyle/>
        <a:p>
          <a:r>
            <a:rPr lang="en-US" sz="1200" b="0" dirty="0" smtClean="0"/>
            <a:t>Not specialized for ELLs, ECE, or Special Education</a:t>
          </a:r>
          <a:endParaRPr lang="en-US" sz="1200" b="0" dirty="0"/>
        </a:p>
      </dgm:t>
    </dgm:pt>
    <dgm:pt modelId="{7613302C-3BFE-46CF-AED4-4DDA8C6AF3F3}" type="parTrans" cxnId="{2E50B5B0-6390-4B8D-94B8-95714894D75F}">
      <dgm:prSet/>
      <dgm:spPr/>
      <dgm:t>
        <a:bodyPr/>
        <a:lstStyle/>
        <a:p>
          <a:endParaRPr lang="en-US" sz="1800" b="1"/>
        </a:p>
      </dgm:t>
    </dgm:pt>
    <dgm:pt modelId="{F92D578D-C0F9-4CC6-A3B5-CFD74F250CFB}" type="sibTrans" cxnId="{2E50B5B0-6390-4B8D-94B8-95714894D75F}">
      <dgm:prSet/>
      <dgm:spPr/>
      <dgm:t>
        <a:bodyPr/>
        <a:lstStyle/>
        <a:p>
          <a:endParaRPr lang="en-US" sz="1800" b="1"/>
        </a:p>
      </dgm:t>
    </dgm:pt>
    <dgm:pt modelId="{D92C5160-CF81-4908-976A-C21DB50D0B72}">
      <dgm:prSet phldrT="[Text]" custT="1"/>
      <dgm:spPr/>
      <dgm:t>
        <a:bodyPr/>
        <a:lstStyle/>
        <a:p>
          <a:endParaRPr lang="en-US" sz="1200" b="0" dirty="0"/>
        </a:p>
      </dgm:t>
    </dgm:pt>
    <dgm:pt modelId="{EA8CC8DA-A433-4C48-AD68-DFD6A97F7A3A}" type="parTrans" cxnId="{C5FBA9E8-8231-4006-BB2F-D5F25BBD9BE2}">
      <dgm:prSet/>
      <dgm:spPr/>
      <dgm:t>
        <a:bodyPr/>
        <a:lstStyle/>
        <a:p>
          <a:endParaRPr lang="en-US" sz="1800"/>
        </a:p>
      </dgm:t>
    </dgm:pt>
    <dgm:pt modelId="{5A32ECD7-8621-4767-A5F5-76FB216DE3CF}" type="sibTrans" cxnId="{C5FBA9E8-8231-4006-BB2F-D5F25BBD9BE2}">
      <dgm:prSet/>
      <dgm:spPr/>
      <dgm:t>
        <a:bodyPr/>
        <a:lstStyle/>
        <a:p>
          <a:endParaRPr lang="en-US" sz="1800"/>
        </a:p>
      </dgm:t>
    </dgm:pt>
    <dgm:pt modelId="{A1116571-DB42-4EE2-85D5-CEE09D451AB8}">
      <dgm:prSet phldrT="[Text]" custT="1"/>
      <dgm:spPr/>
      <dgm:t>
        <a:bodyPr/>
        <a:lstStyle/>
        <a:p>
          <a:r>
            <a:rPr lang="en-US" sz="1200" b="0" dirty="0" smtClean="0"/>
            <a:t>Shortened survey administered for 2,941 teachers (9-22 Q’s, based on grade level)</a:t>
          </a:r>
          <a:endParaRPr lang="en-US" sz="1200" b="0" dirty="0"/>
        </a:p>
      </dgm:t>
    </dgm:pt>
    <dgm:pt modelId="{9DFF74D4-88D3-4C23-8E9A-7504622684FF}" type="parTrans" cxnId="{5D65B673-EC18-44BD-AA8C-F68166570794}">
      <dgm:prSet/>
      <dgm:spPr/>
      <dgm:t>
        <a:bodyPr/>
        <a:lstStyle/>
        <a:p>
          <a:endParaRPr lang="en-US" sz="1800"/>
        </a:p>
      </dgm:t>
    </dgm:pt>
    <dgm:pt modelId="{BE28C86B-9310-4193-BB75-D209BF4FE7B2}" type="sibTrans" cxnId="{5D65B673-EC18-44BD-AA8C-F68166570794}">
      <dgm:prSet/>
      <dgm:spPr/>
      <dgm:t>
        <a:bodyPr/>
        <a:lstStyle/>
        <a:p>
          <a:endParaRPr lang="en-US" sz="1800"/>
        </a:p>
      </dgm:t>
    </dgm:pt>
    <dgm:pt modelId="{DFC059E7-209A-4CCC-B727-5FF566E17CAA}">
      <dgm:prSet phldrT="[Text]" custT="1"/>
      <dgm:spPr/>
      <dgm:t>
        <a:bodyPr/>
        <a:lstStyle/>
        <a:p>
          <a:r>
            <a:rPr lang="en-US" sz="1200" b="0" dirty="0" smtClean="0"/>
            <a:t>Modifications in survey and administration  to support </a:t>
          </a:r>
          <a:r>
            <a:rPr lang="en-US" sz="1200" b="1" dirty="0" smtClean="0"/>
            <a:t>ECE, ELLs, and Special Education students</a:t>
          </a:r>
          <a:endParaRPr lang="en-US" sz="1200" b="1" dirty="0"/>
        </a:p>
      </dgm:t>
    </dgm:pt>
    <dgm:pt modelId="{D9ED0543-5507-4BD8-93E2-79C27C778547}" type="parTrans" cxnId="{1674D487-0FD4-48F9-8515-CA1C21F9877B}">
      <dgm:prSet/>
      <dgm:spPr/>
      <dgm:t>
        <a:bodyPr/>
        <a:lstStyle/>
        <a:p>
          <a:endParaRPr lang="en-US" sz="1800"/>
        </a:p>
      </dgm:t>
    </dgm:pt>
    <dgm:pt modelId="{CE9C1D0B-F560-4431-9B98-39F91A1D8F0B}" type="sibTrans" cxnId="{1674D487-0FD4-48F9-8515-CA1C21F9877B}">
      <dgm:prSet/>
      <dgm:spPr/>
      <dgm:t>
        <a:bodyPr/>
        <a:lstStyle/>
        <a:p>
          <a:endParaRPr lang="en-US" sz="1800"/>
        </a:p>
      </dgm:t>
    </dgm:pt>
    <dgm:pt modelId="{7B4BD93B-7E4B-4996-A006-52F853905E27}">
      <dgm:prSet phldrT="[Text]" custT="1"/>
      <dgm:spPr/>
      <dgm:t>
        <a:bodyPr/>
        <a:lstStyle/>
        <a:p>
          <a:r>
            <a:rPr lang="en-US" sz="1200" b="1" dirty="0" smtClean="0"/>
            <a:t>Spring 2012 survey administered for 1,713 teachers</a:t>
          </a:r>
          <a:endParaRPr lang="en-US" sz="1200" b="0" dirty="0"/>
        </a:p>
      </dgm:t>
    </dgm:pt>
    <dgm:pt modelId="{A64A28AE-53A1-4FAE-AC63-B6283A765D01}" type="parTrans" cxnId="{2A3307C6-46E1-4189-B248-ED88B2AB4CE3}">
      <dgm:prSet/>
      <dgm:spPr/>
      <dgm:t>
        <a:bodyPr/>
        <a:lstStyle/>
        <a:p>
          <a:endParaRPr lang="en-US" sz="1800"/>
        </a:p>
      </dgm:t>
    </dgm:pt>
    <dgm:pt modelId="{99F24613-49D1-4A74-984C-A76861C818B4}" type="sibTrans" cxnId="{2A3307C6-46E1-4189-B248-ED88B2AB4CE3}">
      <dgm:prSet/>
      <dgm:spPr/>
      <dgm:t>
        <a:bodyPr/>
        <a:lstStyle/>
        <a:p>
          <a:endParaRPr lang="en-US" sz="1800"/>
        </a:p>
      </dgm:t>
    </dgm:pt>
    <dgm:pt modelId="{D030D566-D368-4F4B-B885-C4D1E51A8236}">
      <dgm:prSet phldrT="[Text]" custT="1"/>
      <dgm:spPr/>
      <dgm:t>
        <a:bodyPr/>
        <a:lstStyle/>
        <a:p>
          <a:r>
            <a:rPr lang="en-US" sz="1200" b="0" dirty="0" smtClean="0"/>
            <a:t>Separate surveys for grades 3-5 and 6-12 with differentiated content</a:t>
          </a:r>
          <a:endParaRPr lang="en-US" sz="1200" b="0" dirty="0"/>
        </a:p>
      </dgm:t>
    </dgm:pt>
    <dgm:pt modelId="{DF19ED7B-4D54-4341-8D8E-0E64E7D88E94}" type="parTrans" cxnId="{2C5560F0-FFE7-4B02-ACD9-8DB341813DB7}">
      <dgm:prSet/>
      <dgm:spPr/>
      <dgm:t>
        <a:bodyPr/>
        <a:lstStyle/>
        <a:p>
          <a:endParaRPr lang="en-US" sz="1600"/>
        </a:p>
      </dgm:t>
    </dgm:pt>
    <dgm:pt modelId="{771B56F3-50EA-4010-9DEC-6E002EFC4B8A}" type="sibTrans" cxnId="{2C5560F0-FFE7-4B02-ACD9-8DB341813DB7}">
      <dgm:prSet/>
      <dgm:spPr/>
      <dgm:t>
        <a:bodyPr/>
        <a:lstStyle/>
        <a:p>
          <a:endParaRPr lang="en-US" sz="1600"/>
        </a:p>
      </dgm:t>
    </dgm:pt>
    <dgm:pt modelId="{4DED3E77-06BB-428E-A0E5-F8895DA6345F}">
      <dgm:prSet phldrT="[Text]" custT="1"/>
      <dgm:spPr/>
      <dgm:t>
        <a:bodyPr/>
        <a:lstStyle/>
        <a:p>
          <a:r>
            <a:rPr lang="en-US" sz="1200" b="1" dirty="0" smtClean="0"/>
            <a:t>Survey administered in fall only</a:t>
          </a:r>
          <a:endParaRPr lang="en-US" sz="1200" b="1" dirty="0"/>
        </a:p>
      </dgm:t>
    </dgm:pt>
    <dgm:pt modelId="{3B3363CF-4D32-4208-AD77-F6A7855D0484}" type="parTrans" cxnId="{1EF03F35-AB2F-4322-A0D7-8C3D8AB8A5C7}">
      <dgm:prSet/>
      <dgm:spPr/>
      <dgm:t>
        <a:bodyPr/>
        <a:lstStyle/>
        <a:p>
          <a:endParaRPr lang="en-US" sz="1600"/>
        </a:p>
      </dgm:t>
    </dgm:pt>
    <dgm:pt modelId="{07F0D736-E65C-4CB6-AFC9-C3831D82807D}" type="sibTrans" cxnId="{1EF03F35-AB2F-4322-A0D7-8C3D8AB8A5C7}">
      <dgm:prSet/>
      <dgm:spPr/>
      <dgm:t>
        <a:bodyPr/>
        <a:lstStyle/>
        <a:p>
          <a:endParaRPr lang="en-US" sz="1600"/>
        </a:p>
      </dgm:t>
    </dgm:pt>
    <dgm:pt modelId="{BD6487D9-AB40-B44F-983D-3DBF4E5EE102}">
      <dgm:prSet phldrT="[Text]" custT="1"/>
      <dgm:spPr/>
      <dgm:t>
        <a:bodyPr/>
        <a:lstStyle/>
        <a:p>
          <a:r>
            <a:rPr lang="en-US" sz="1200" b="0" dirty="0" smtClean="0"/>
            <a:t>SPS scores used in LEAP ratings for first time (10%)</a:t>
          </a:r>
          <a:endParaRPr lang="en-US" sz="1200" b="0" dirty="0"/>
        </a:p>
      </dgm:t>
    </dgm:pt>
    <dgm:pt modelId="{7D7F543E-17FE-DD49-ABB1-205BE33020AC}">
      <dgm:prSet phldrT="[Text]" custT="1"/>
      <dgm:spPr/>
      <dgm:t>
        <a:bodyPr/>
        <a:lstStyle/>
        <a:p>
          <a:r>
            <a:rPr lang="en-US" sz="1200" b="0" dirty="0" smtClean="0"/>
            <a:t>Fall administration window lengthened and spring makeup window added</a:t>
          </a:r>
          <a:endParaRPr lang="en-US" sz="1200" b="0" dirty="0"/>
        </a:p>
      </dgm:t>
    </dgm:pt>
    <dgm:pt modelId="{74CB1E26-BD8B-0D43-B2B7-B797FD4B21B5}">
      <dgm:prSet phldrT="[Text]" custT="1"/>
      <dgm:spPr/>
      <dgm:t>
        <a:bodyPr/>
        <a:lstStyle/>
        <a:p>
          <a:r>
            <a:rPr lang="en-US" sz="1800" b="1" u="sng" dirty="0" smtClean="0"/>
            <a:t>2013-2014</a:t>
          </a:r>
        </a:p>
        <a:p>
          <a:r>
            <a:rPr lang="en-US" sz="1200" b="1" dirty="0" smtClean="0"/>
            <a:t>ECE-2 survey eliminated . Grades 3-5 and 6-12 survey content combined to a single survey </a:t>
          </a:r>
          <a:endParaRPr lang="en-US" sz="1600" b="1" u="sng" dirty="0"/>
        </a:p>
      </dgm:t>
    </dgm:pt>
    <dgm:pt modelId="{A85B4897-43A0-EB43-99CB-F7328E4B09E8}" type="sibTrans" cxnId="{09749900-1222-C44B-A3F1-8DCF7FEEA656}">
      <dgm:prSet/>
      <dgm:spPr/>
      <dgm:t>
        <a:bodyPr/>
        <a:lstStyle/>
        <a:p>
          <a:endParaRPr lang="en-US" sz="1600"/>
        </a:p>
      </dgm:t>
    </dgm:pt>
    <dgm:pt modelId="{E4C66EC6-F460-BA41-9C8C-1D67CB07BE7B}" type="parTrans" cxnId="{09749900-1222-C44B-A3F1-8DCF7FEEA656}">
      <dgm:prSet/>
      <dgm:spPr/>
      <dgm:t>
        <a:bodyPr/>
        <a:lstStyle/>
        <a:p>
          <a:endParaRPr lang="en-US" sz="1600"/>
        </a:p>
      </dgm:t>
    </dgm:pt>
    <dgm:pt modelId="{83B4A27D-4BF3-7B4B-B101-1E2F2D44A683}" type="sibTrans" cxnId="{0E0F297F-EAF0-2941-9B60-7D08628A546C}">
      <dgm:prSet/>
      <dgm:spPr/>
      <dgm:t>
        <a:bodyPr/>
        <a:lstStyle/>
        <a:p>
          <a:endParaRPr lang="en-US" sz="1600"/>
        </a:p>
      </dgm:t>
    </dgm:pt>
    <dgm:pt modelId="{A1F567E4-BBE3-3C40-BDD4-4F59C562FEA8}" type="parTrans" cxnId="{0E0F297F-EAF0-2941-9B60-7D08628A546C}">
      <dgm:prSet/>
      <dgm:spPr/>
      <dgm:t>
        <a:bodyPr/>
        <a:lstStyle/>
        <a:p>
          <a:endParaRPr lang="en-US" sz="1600"/>
        </a:p>
      </dgm:t>
    </dgm:pt>
    <dgm:pt modelId="{1A5CD257-E675-3047-AC69-1A5BA72E7A5C}" type="sibTrans" cxnId="{B678697B-9BA7-404C-A019-3DCC41AE3E2F}">
      <dgm:prSet/>
      <dgm:spPr/>
      <dgm:t>
        <a:bodyPr/>
        <a:lstStyle/>
        <a:p>
          <a:endParaRPr lang="en-US" sz="1600"/>
        </a:p>
      </dgm:t>
    </dgm:pt>
    <dgm:pt modelId="{F432D32B-0AFB-684A-BCF0-F8F91E2E333D}" type="parTrans" cxnId="{B678697B-9BA7-404C-A019-3DCC41AE3E2F}">
      <dgm:prSet/>
      <dgm:spPr/>
      <dgm:t>
        <a:bodyPr/>
        <a:lstStyle/>
        <a:p>
          <a:endParaRPr lang="en-US" sz="1600"/>
        </a:p>
      </dgm:t>
    </dgm:pt>
    <dgm:pt modelId="{0A5DDAC4-020A-4775-8475-DAF636739356}">
      <dgm:prSet phldrT="[Text]" custT="1"/>
      <dgm:spPr/>
      <dgm:t>
        <a:bodyPr/>
        <a:lstStyle/>
        <a:p>
          <a:r>
            <a:rPr lang="en-US" sz="1200" dirty="0" smtClean="0"/>
            <a:t>61,277 survey responses results for 2,829 teachers</a:t>
          </a:r>
          <a:endParaRPr lang="en-US" sz="1200" b="1" dirty="0"/>
        </a:p>
      </dgm:t>
    </dgm:pt>
    <dgm:pt modelId="{35D6529F-81D3-47CA-8F76-1B57ABB1CB74}" type="parTrans" cxnId="{3724F220-F239-4590-99D2-F8255BF4E40B}">
      <dgm:prSet/>
      <dgm:spPr/>
      <dgm:t>
        <a:bodyPr/>
        <a:lstStyle/>
        <a:p>
          <a:endParaRPr lang="en-US" sz="1600"/>
        </a:p>
      </dgm:t>
    </dgm:pt>
    <dgm:pt modelId="{1D47830D-3411-4A60-B221-12621DEF2C78}" type="sibTrans" cxnId="{3724F220-F239-4590-99D2-F8255BF4E40B}">
      <dgm:prSet/>
      <dgm:spPr/>
      <dgm:t>
        <a:bodyPr/>
        <a:lstStyle/>
        <a:p>
          <a:endParaRPr lang="en-US" sz="1600"/>
        </a:p>
      </dgm:t>
    </dgm:pt>
    <dgm:pt modelId="{C2D22BEA-0CEF-4199-82DC-09FE3B16D5C2}">
      <dgm:prSet phldrT="[Text]" custT="1"/>
      <dgm:spPr/>
      <dgm:t>
        <a:bodyPr/>
        <a:lstStyle/>
        <a:p>
          <a:r>
            <a:rPr lang="en-US" sz="1200" b="0" dirty="0" smtClean="0"/>
            <a:t>Prior to the makeup window had </a:t>
          </a:r>
          <a:r>
            <a:rPr lang="en-US" sz="1200" dirty="0" smtClean="0"/>
            <a:t>79,000 survey responses  and results for 2,877 teachers (final results available in April).</a:t>
          </a:r>
          <a:endParaRPr lang="en-US" sz="1200" b="0" dirty="0"/>
        </a:p>
      </dgm:t>
    </dgm:pt>
    <dgm:pt modelId="{9365DDF1-9286-4FFB-8E29-A9C5A2EEA09F}" type="parTrans" cxnId="{7D2C9A6C-28FF-479B-A8FC-B7C9EBACEEBB}">
      <dgm:prSet/>
      <dgm:spPr/>
      <dgm:t>
        <a:bodyPr/>
        <a:lstStyle/>
        <a:p>
          <a:endParaRPr lang="en-US"/>
        </a:p>
      </dgm:t>
    </dgm:pt>
    <dgm:pt modelId="{005EF6F0-A2E7-4469-9CFD-A34B41FC22CB}" type="sibTrans" cxnId="{7D2C9A6C-28FF-479B-A8FC-B7C9EBACEEBB}">
      <dgm:prSet/>
      <dgm:spPr/>
      <dgm:t>
        <a:bodyPr/>
        <a:lstStyle/>
        <a:p>
          <a:endParaRPr lang="en-US"/>
        </a:p>
      </dgm:t>
    </dgm:pt>
    <dgm:pt modelId="{0F26B773-F7B0-422A-80F9-69E97D847F4D}" type="pres">
      <dgm:prSet presAssocID="{C46ECE86-537D-4AFC-8CAE-71D79DAC995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F0AC10A-A442-4E57-85D3-07F2EFC07D43}" type="pres">
      <dgm:prSet presAssocID="{CBBAB193-4662-4F4C-A75C-715CFF04A41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6A1AC1-C398-4AF3-8228-DDDBC365D65D}" type="pres">
      <dgm:prSet presAssocID="{BD9B1EFF-AAE8-4BE8-806C-510452A224FF}" presName="sibTrans" presStyleCnt="0"/>
      <dgm:spPr/>
      <dgm:t>
        <a:bodyPr/>
        <a:lstStyle/>
        <a:p>
          <a:endParaRPr lang="en-US"/>
        </a:p>
      </dgm:t>
    </dgm:pt>
    <dgm:pt modelId="{C9B16025-CCC9-40E2-9FEB-B37BBC4BD5B7}" type="pres">
      <dgm:prSet presAssocID="{C70C4A76-5313-4B95-8113-9F96FA2FE20A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D2B414-6907-4F60-9B84-F5E49C9F2CF5}" type="pres">
      <dgm:prSet presAssocID="{A907FB76-A237-4093-BEF5-51CD652D1CB3}" presName="sibTrans" presStyleCnt="0"/>
      <dgm:spPr/>
      <dgm:t>
        <a:bodyPr/>
        <a:lstStyle/>
        <a:p>
          <a:endParaRPr lang="en-US"/>
        </a:p>
      </dgm:t>
    </dgm:pt>
    <dgm:pt modelId="{09BA51A1-A137-4576-87E3-567D890527CA}" type="pres">
      <dgm:prSet presAssocID="{119423AE-D75F-4932-A61D-B72AAE0D355F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96D093-B3DF-2F46-BB1B-DCFB06993678}" type="pres">
      <dgm:prSet presAssocID="{8830A6BE-2070-4A2D-B20F-FBB15C73F3C6}" presName="sibTrans" presStyleCnt="0"/>
      <dgm:spPr/>
      <dgm:t>
        <a:bodyPr/>
        <a:lstStyle/>
        <a:p>
          <a:endParaRPr lang="en-US"/>
        </a:p>
      </dgm:t>
    </dgm:pt>
    <dgm:pt modelId="{69F3D206-5D7D-834C-ABBF-8EBCC5EAD97F}" type="pres">
      <dgm:prSet presAssocID="{74CB1E26-BD8B-0D43-B2B7-B797FD4B21B5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842399C-60A1-405C-8703-0FCB5CD7B0F8}" srcId="{CBBAB193-4662-4F4C-A75C-715CFF04A417}" destId="{1EF2E48B-F1AC-49FE-BA15-53E21ACD0AA4}" srcOrd="0" destOrd="0" parTransId="{C8D18D8B-E27F-41DA-BAE6-845593ACB886}" sibTransId="{19691C32-8431-4B95-8B43-9B16F8AF3A7B}"/>
    <dgm:cxn modelId="{2E50B5B0-6390-4B8D-94B8-95714894D75F}" srcId="{1A710127-3F7A-4801-BFAF-A1074A931DB2}" destId="{E46EEE8E-F14C-44DE-9E60-9763F3230810}" srcOrd="1" destOrd="0" parTransId="{7613302C-3BFE-46CF-AED4-4DDA8C6AF3F3}" sibTransId="{F92D578D-C0F9-4CC6-A3B5-CFD74F250CFB}"/>
    <dgm:cxn modelId="{2C5560F0-FFE7-4B02-ACD9-8DB341813DB7}" srcId="{119423AE-D75F-4932-A61D-B72AAE0D355F}" destId="{D030D566-D368-4F4B-B885-C4D1E51A8236}" srcOrd="0" destOrd="0" parTransId="{DF19ED7B-4D54-4341-8D8E-0E64E7D88E94}" sibTransId="{771B56F3-50EA-4010-9DEC-6E002EFC4B8A}"/>
    <dgm:cxn modelId="{B678697B-9BA7-404C-A019-3DCC41AE3E2F}" srcId="{74CB1E26-BD8B-0D43-B2B7-B797FD4B21B5}" destId="{7D7F543E-17FE-DD49-ABB1-205BE33020AC}" srcOrd="0" destOrd="0" parTransId="{F432D32B-0AFB-684A-BCF0-F8F91E2E333D}" sibTransId="{1A5CD257-E675-3047-AC69-1A5BA72E7A5C}"/>
    <dgm:cxn modelId="{5D65B673-EC18-44BD-AA8C-F68166570794}" srcId="{C70C4A76-5313-4B95-8113-9F96FA2FE20A}" destId="{A1116571-DB42-4EE2-85D5-CEE09D451AB8}" srcOrd="0" destOrd="0" parTransId="{9DFF74D4-88D3-4C23-8E9A-7504622684FF}" sibTransId="{BE28C86B-9310-4193-BB75-D209BF4FE7B2}"/>
    <dgm:cxn modelId="{F586935B-62D1-4B49-AC96-B90970D500AD}" type="presOf" srcId="{D92C5160-CF81-4908-976A-C21DB50D0B72}" destId="{C9B16025-CCC9-40E2-9FEB-B37BBC4BD5B7}" srcOrd="0" destOrd="4" presId="urn:microsoft.com/office/officeart/2005/8/layout/hList6"/>
    <dgm:cxn modelId="{C5FBA9E8-8231-4006-BB2F-D5F25BBD9BE2}" srcId="{C70C4A76-5313-4B95-8113-9F96FA2FE20A}" destId="{D92C5160-CF81-4908-976A-C21DB50D0B72}" srcOrd="3" destOrd="0" parTransId="{EA8CC8DA-A433-4C48-AD68-DFD6A97F7A3A}" sibTransId="{5A32ECD7-8621-4767-A5F5-76FB216DE3CF}"/>
    <dgm:cxn modelId="{5DF137C0-9199-48E2-B7B6-82D90F929EBC}" srcId="{119423AE-D75F-4932-A61D-B72AAE0D355F}" destId="{4B45D5CD-64FF-4223-9C2D-94D90CF9B06D}" srcOrd="1" destOrd="0" parTransId="{8D730641-FFFD-42A7-AD68-F821B00A732A}" sibTransId="{CBE23342-D676-4BE2-BE9C-65DB54331255}"/>
    <dgm:cxn modelId="{1674D487-0FD4-48F9-8515-CA1C21F9877B}" srcId="{C70C4A76-5313-4B95-8113-9F96FA2FE20A}" destId="{DFC059E7-209A-4CCC-B727-5FF566E17CAA}" srcOrd="1" destOrd="0" parTransId="{D9ED0543-5507-4BD8-93E2-79C27C778547}" sibTransId="{CE9C1D0B-F560-4431-9B98-39F91A1D8F0B}"/>
    <dgm:cxn modelId="{FC7AE330-AD4E-5047-B565-94A0557F8C81}" type="presOf" srcId="{D030D566-D368-4F4B-B885-C4D1E51A8236}" destId="{09BA51A1-A137-4576-87E3-567D890527CA}" srcOrd="0" destOrd="1" presId="urn:microsoft.com/office/officeart/2005/8/layout/hList6"/>
    <dgm:cxn modelId="{3B95A536-B79B-F24A-84D5-DBCD82034F4C}" type="presOf" srcId="{A1116571-DB42-4EE2-85D5-CEE09D451AB8}" destId="{C9B16025-CCC9-40E2-9FEB-B37BBC4BD5B7}" srcOrd="0" destOrd="1" presId="urn:microsoft.com/office/officeart/2005/8/layout/hList6"/>
    <dgm:cxn modelId="{A578AB7E-5584-4A4D-95E1-D00AD8E756E6}" type="presOf" srcId="{E46EEE8E-F14C-44DE-9E60-9763F3230810}" destId="{4F0AC10A-A442-4E57-85D3-07F2EFC07D43}" srcOrd="0" destOrd="4" presId="urn:microsoft.com/office/officeart/2005/8/layout/hList6"/>
    <dgm:cxn modelId="{7E592740-5FA9-4185-AB2C-FF37052551CB}" srcId="{C46ECE86-537D-4AFC-8CAE-71D79DAC9958}" destId="{C70C4A76-5313-4B95-8113-9F96FA2FE20A}" srcOrd="1" destOrd="0" parTransId="{58D11B3F-9C03-408A-9CD2-E2A2D679780F}" sibTransId="{A907FB76-A237-4093-BEF5-51CD652D1CB3}"/>
    <dgm:cxn modelId="{240A3FA6-49F7-4384-AFF8-233B66B3575B}" srcId="{C46ECE86-537D-4AFC-8CAE-71D79DAC9958}" destId="{119423AE-D75F-4932-A61D-B72AAE0D355F}" srcOrd="2" destOrd="0" parTransId="{DBAE01DE-0904-49D5-B813-DFC66CE11CB7}" sibTransId="{8830A6BE-2070-4A2D-B20F-FBB15C73F3C6}"/>
    <dgm:cxn modelId="{A9BE7873-69B6-FF41-BF8B-9A29B91333EA}" type="presOf" srcId="{DFC059E7-209A-4CCC-B727-5FF566E17CAA}" destId="{C9B16025-CCC9-40E2-9FEB-B37BBC4BD5B7}" srcOrd="0" destOrd="2" presId="urn:microsoft.com/office/officeart/2005/8/layout/hList6"/>
    <dgm:cxn modelId="{85D77B0C-0A8E-E040-9017-090EEAE9D187}" type="presOf" srcId="{119423AE-D75F-4932-A61D-B72AAE0D355F}" destId="{09BA51A1-A137-4576-87E3-567D890527CA}" srcOrd="0" destOrd="0" presId="urn:microsoft.com/office/officeart/2005/8/layout/hList6"/>
    <dgm:cxn modelId="{3724F220-F239-4590-99D2-F8255BF4E40B}" srcId="{119423AE-D75F-4932-A61D-B72AAE0D355F}" destId="{0A5DDAC4-020A-4775-8475-DAF636739356}" srcOrd="3" destOrd="0" parTransId="{35D6529F-81D3-47CA-8F76-1B57ABB1CB74}" sibTransId="{1D47830D-3411-4A60-B221-12621DEF2C78}"/>
    <dgm:cxn modelId="{732DDE0D-DC6E-DC42-9B60-28673DB0DFCC}" type="presOf" srcId="{C70C4A76-5313-4B95-8113-9F96FA2FE20A}" destId="{C9B16025-CCC9-40E2-9FEB-B37BBC4BD5B7}" srcOrd="0" destOrd="0" presId="urn:microsoft.com/office/officeart/2005/8/layout/hList6"/>
    <dgm:cxn modelId="{2A3307C6-46E1-4189-B248-ED88B2AB4CE3}" srcId="{C70C4A76-5313-4B95-8113-9F96FA2FE20A}" destId="{7B4BD93B-7E4B-4996-A006-52F853905E27}" srcOrd="2" destOrd="0" parTransId="{A64A28AE-53A1-4FAE-AC63-B6283A765D01}" sibTransId="{99F24613-49D1-4A74-984C-A76861C818B4}"/>
    <dgm:cxn modelId="{403DE7C4-09D9-C14F-A48A-22461E27E6EC}" type="presOf" srcId="{E7F8C144-623D-4C79-9982-A0E439CBEE24}" destId="{4F0AC10A-A442-4E57-85D3-07F2EFC07D43}" srcOrd="0" destOrd="3" presId="urn:microsoft.com/office/officeart/2005/8/layout/hList6"/>
    <dgm:cxn modelId="{1EF03F35-AB2F-4322-A0D7-8C3D8AB8A5C7}" srcId="{119423AE-D75F-4932-A61D-B72AAE0D355F}" destId="{4DED3E77-06BB-428E-A0E5-F8895DA6345F}" srcOrd="4" destOrd="0" parTransId="{3B3363CF-4D32-4208-AD77-F6A7855D0484}" sibTransId="{07F0D736-E65C-4CB6-AFC9-C3831D82807D}"/>
    <dgm:cxn modelId="{01E3642A-C0B0-4D94-AF7C-F816A5C83E47}" srcId="{C46ECE86-537D-4AFC-8CAE-71D79DAC9958}" destId="{CBBAB193-4662-4F4C-A75C-715CFF04A417}" srcOrd="0" destOrd="0" parTransId="{1D698FE7-65FF-4087-900C-5120EAC2AD7C}" sibTransId="{BD9B1EFF-AAE8-4BE8-806C-510452A224FF}"/>
    <dgm:cxn modelId="{A4219A8A-233F-3748-B5B9-8818269D1A7F}" type="presOf" srcId="{7D7F543E-17FE-DD49-ABB1-205BE33020AC}" destId="{69F3D206-5D7D-834C-ABBF-8EBCC5EAD97F}" srcOrd="0" destOrd="1" presId="urn:microsoft.com/office/officeart/2005/8/layout/hList6"/>
    <dgm:cxn modelId="{327BF7D2-E6CD-B34A-B624-790C690CCFB5}" type="presOf" srcId="{BD6487D9-AB40-B44F-983D-3DBF4E5EE102}" destId="{69F3D206-5D7D-834C-ABBF-8EBCC5EAD97F}" srcOrd="0" destOrd="3" presId="urn:microsoft.com/office/officeart/2005/8/layout/hList6"/>
    <dgm:cxn modelId="{026F7B39-DF39-604B-905A-81586EF0E313}" type="presOf" srcId="{1EF2E48B-F1AC-49FE-BA15-53E21ACD0AA4}" destId="{4F0AC10A-A442-4E57-85D3-07F2EFC07D43}" srcOrd="0" destOrd="1" presId="urn:microsoft.com/office/officeart/2005/8/layout/hList6"/>
    <dgm:cxn modelId="{B2DE3B99-DBF2-3E41-9506-40DAF397D918}" type="presOf" srcId="{D0FBE0CC-2510-489A-B7F2-0516FDD1C592}" destId="{09BA51A1-A137-4576-87E3-567D890527CA}" srcOrd="0" destOrd="3" presId="urn:microsoft.com/office/officeart/2005/8/layout/hList6"/>
    <dgm:cxn modelId="{7997063A-05FF-5F41-AF06-6E9041D20F62}" type="presOf" srcId="{C2D22BEA-0CEF-4199-82DC-09FE3B16D5C2}" destId="{69F3D206-5D7D-834C-ABBF-8EBCC5EAD97F}" srcOrd="0" destOrd="2" presId="urn:microsoft.com/office/officeart/2005/8/layout/hList6"/>
    <dgm:cxn modelId="{0E0F297F-EAF0-2941-9B60-7D08628A546C}" srcId="{74CB1E26-BD8B-0D43-B2B7-B797FD4B21B5}" destId="{BD6487D9-AB40-B44F-983D-3DBF4E5EE102}" srcOrd="2" destOrd="0" parTransId="{A1F567E4-BBE3-3C40-BDD4-4F59C562FEA8}" sibTransId="{83B4A27D-4BF3-7B4B-B101-1E2F2D44A683}"/>
    <dgm:cxn modelId="{7D2C9A6C-28FF-479B-A8FC-B7C9EBACEEBB}" srcId="{74CB1E26-BD8B-0D43-B2B7-B797FD4B21B5}" destId="{C2D22BEA-0CEF-4199-82DC-09FE3B16D5C2}" srcOrd="1" destOrd="0" parTransId="{9365DDF1-9286-4FFB-8E29-A9C5A2EEA09F}" sibTransId="{005EF6F0-A2E7-4469-9CFD-A34B41FC22CB}"/>
    <dgm:cxn modelId="{869C5939-6B02-43EF-9C46-AED9EEBCDF57}" srcId="{CBBAB193-4662-4F4C-A75C-715CFF04A417}" destId="{1A710127-3F7A-4801-BFAF-A1074A931DB2}" srcOrd="1" destOrd="0" parTransId="{350696DE-455D-4DE2-8685-29FBDAAA3478}" sibTransId="{4312B109-631F-4053-8F46-59A3E7433EBD}"/>
    <dgm:cxn modelId="{3F5E5A83-00BA-A344-8879-403A0D1506B3}" type="presOf" srcId="{CBBAB193-4662-4F4C-A75C-715CFF04A417}" destId="{4F0AC10A-A442-4E57-85D3-07F2EFC07D43}" srcOrd="0" destOrd="0" presId="urn:microsoft.com/office/officeart/2005/8/layout/hList6"/>
    <dgm:cxn modelId="{B66698CB-D61F-7A4D-81E8-310C655FA13B}" type="presOf" srcId="{4DED3E77-06BB-428E-A0E5-F8895DA6345F}" destId="{09BA51A1-A137-4576-87E3-567D890527CA}" srcOrd="0" destOrd="5" presId="urn:microsoft.com/office/officeart/2005/8/layout/hList6"/>
    <dgm:cxn modelId="{8C138F50-50B3-6E45-8BFE-DBD4A064D2E0}" type="presOf" srcId="{7B4BD93B-7E4B-4996-A006-52F853905E27}" destId="{C9B16025-CCC9-40E2-9FEB-B37BBC4BD5B7}" srcOrd="0" destOrd="3" presId="urn:microsoft.com/office/officeart/2005/8/layout/hList6"/>
    <dgm:cxn modelId="{09749900-1222-C44B-A3F1-8DCF7FEEA656}" srcId="{C46ECE86-537D-4AFC-8CAE-71D79DAC9958}" destId="{74CB1E26-BD8B-0D43-B2B7-B797FD4B21B5}" srcOrd="3" destOrd="0" parTransId="{E4C66EC6-F460-BA41-9C8C-1D67CB07BE7B}" sibTransId="{A85B4897-43A0-EB43-99CB-F7328E4B09E8}"/>
    <dgm:cxn modelId="{A77DE144-E88A-5849-AF70-A820982BE861}" type="presOf" srcId="{0A5DDAC4-020A-4775-8475-DAF636739356}" destId="{09BA51A1-A137-4576-87E3-567D890527CA}" srcOrd="0" destOrd="4" presId="urn:microsoft.com/office/officeart/2005/8/layout/hList6"/>
    <dgm:cxn modelId="{15E04CE9-EE11-BC49-A415-E66F4F946A83}" type="presOf" srcId="{4B45D5CD-64FF-4223-9C2D-94D90CF9B06D}" destId="{09BA51A1-A137-4576-87E3-567D890527CA}" srcOrd="0" destOrd="2" presId="urn:microsoft.com/office/officeart/2005/8/layout/hList6"/>
    <dgm:cxn modelId="{7F4B38DE-2668-1E47-8F82-371754AD654E}" type="presOf" srcId="{74CB1E26-BD8B-0D43-B2B7-B797FD4B21B5}" destId="{69F3D206-5D7D-834C-ABBF-8EBCC5EAD97F}" srcOrd="0" destOrd="0" presId="urn:microsoft.com/office/officeart/2005/8/layout/hList6"/>
    <dgm:cxn modelId="{EA51A902-67B3-0F4F-A45B-6E4ABE776CB4}" type="presOf" srcId="{C46ECE86-537D-4AFC-8CAE-71D79DAC9958}" destId="{0F26B773-F7B0-422A-80F9-69E97D847F4D}" srcOrd="0" destOrd="0" presId="urn:microsoft.com/office/officeart/2005/8/layout/hList6"/>
    <dgm:cxn modelId="{AD9ECD81-066E-43DB-A4E0-39647CDCBAF7}" srcId="{119423AE-D75F-4932-A61D-B72AAE0D355F}" destId="{D0FBE0CC-2510-489A-B7F2-0516FDD1C592}" srcOrd="2" destOrd="0" parTransId="{49E090FD-F63B-4C6A-827C-949039DC872D}" sibTransId="{C4495019-D7AB-4D4A-92A7-103D0A56EEFF}"/>
    <dgm:cxn modelId="{AA092C4C-64A4-FA42-9AEE-C9F9959EBA05}" type="presOf" srcId="{1A710127-3F7A-4801-BFAF-A1074A931DB2}" destId="{4F0AC10A-A442-4E57-85D3-07F2EFC07D43}" srcOrd="0" destOrd="2" presId="urn:microsoft.com/office/officeart/2005/8/layout/hList6"/>
    <dgm:cxn modelId="{8B934F61-CB79-4D5A-8C2A-AD4AD2FD7B82}" srcId="{1A710127-3F7A-4801-BFAF-A1074A931DB2}" destId="{E7F8C144-623D-4C79-9982-A0E439CBEE24}" srcOrd="0" destOrd="0" parTransId="{013D9BA2-A513-4171-91A9-6B54C4493335}" sibTransId="{EC7E0F60-212D-49C6-A14A-BFCB5E3CC734}"/>
    <dgm:cxn modelId="{B98C94EE-A678-D343-92A8-5A561CD6CEB7}" type="presParOf" srcId="{0F26B773-F7B0-422A-80F9-69E97D847F4D}" destId="{4F0AC10A-A442-4E57-85D3-07F2EFC07D43}" srcOrd="0" destOrd="0" presId="urn:microsoft.com/office/officeart/2005/8/layout/hList6"/>
    <dgm:cxn modelId="{B71E4BEA-84D9-5845-BF0B-6464838C5D71}" type="presParOf" srcId="{0F26B773-F7B0-422A-80F9-69E97D847F4D}" destId="{CD6A1AC1-C398-4AF3-8228-DDDBC365D65D}" srcOrd="1" destOrd="0" presId="urn:microsoft.com/office/officeart/2005/8/layout/hList6"/>
    <dgm:cxn modelId="{B5BD7C02-1904-4649-8239-20FD89B47C8E}" type="presParOf" srcId="{0F26B773-F7B0-422A-80F9-69E97D847F4D}" destId="{C9B16025-CCC9-40E2-9FEB-B37BBC4BD5B7}" srcOrd="2" destOrd="0" presId="urn:microsoft.com/office/officeart/2005/8/layout/hList6"/>
    <dgm:cxn modelId="{33AD7C12-4A7B-ED48-8199-9F71276B458D}" type="presParOf" srcId="{0F26B773-F7B0-422A-80F9-69E97D847F4D}" destId="{4FD2B414-6907-4F60-9B84-F5E49C9F2CF5}" srcOrd="3" destOrd="0" presId="urn:microsoft.com/office/officeart/2005/8/layout/hList6"/>
    <dgm:cxn modelId="{FF01E093-3DA5-0F43-93B9-D7C85326D5C5}" type="presParOf" srcId="{0F26B773-F7B0-422A-80F9-69E97D847F4D}" destId="{09BA51A1-A137-4576-87E3-567D890527CA}" srcOrd="4" destOrd="0" presId="urn:microsoft.com/office/officeart/2005/8/layout/hList6"/>
    <dgm:cxn modelId="{FC39B9EE-BF75-A641-ACB1-5318CA8F4B94}" type="presParOf" srcId="{0F26B773-F7B0-422A-80F9-69E97D847F4D}" destId="{7C96D093-B3DF-2F46-BB1B-DCFB06993678}" srcOrd="5" destOrd="0" presId="urn:microsoft.com/office/officeart/2005/8/layout/hList6"/>
    <dgm:cxn modelId="{6CFC0A88-0A4A-9144-B160-74275E8182FC}" type="presParOf" srcId="{0F26B773-F7B0-422A-80F9-69E97D847F4D}" destId="{69F3D206-5D7D-834C-ABBF-8EBCC5EAD97F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A3E4CF-6C2A-4B5D-802C-7FB27FD5445D}">
      <dsp:nvSpPr>
        <dsp:cNvPr id="0" name=""/>
        <dsp:cNvSpPr/>
      </dsp:nvSpPr>
      <dsp:spPr>
        <a:xfrm rot="5400000">
          <a:off x="5040653" y="-2018189"/>
          <a:ext cx="90368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et Expectations </a:t>
          </a:r>
          <a:r>
            <a:rPr lang="en-US" sz="1600" kern="1200" dirty="0" smtClean="0">
              <a:sym typeface="Wingdings"/>
            </a:rPr>
            <a:t>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Use multiple measures </a:t>
          </a:r>
          <a:r>
            <a:rPr lang="en-US" sz="1600" kern="1200" dirty="0" smtClean="0">
              <a:sym typeface="Wingdings"/>
            </a:rPr>
            <a:t>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Balance weights </a:t>
          </a:r>
          <a:r>
            <a:rPr lang="en-US" sz="1600" kern="1200" dirty="0" smtClean="0">
              <a:sym typeface="Wingdings"/>
            </a:rPr>
            <a:t></a:t>
          </a:r>
          <a:endParaRPr lang="en-US" sz="1600" kern="1200" dirty="0"/>
        </a:p>
      </dsp:txBody>
      <dsp:txXfrm rot="-5400000">
        <a:off x="2907791" y="158787"/>
        <a:ext cx="5125294" cy="815456"/>
      </dsp:txXfrm>
    </dsp:sp>
    <dsp:sp modelId="{5BDA1C85-2AAE-4C18-BDF7-9DD301733AB1}">
      <dsp:nvSpPr>
        <dsp:cNvPr id="0" name=""/>
        <dsp:cNvSpPr/>
      </dsp:nvSpPr>
      <dsp:spPr>
        <a:xfrm>
          <a:off x="0" y="1711"/>
          <a:ext cx="2907792" cy="11296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MEASURE EFFECTIVE TEACHING</a:t>
          </a:r>
          <a:endParaRPr lang="en-US" sz="2000" kern="1200" dirty="0"/>
        </a:p>
      </dsp:txBody>
      <dsp:txXfrm>
        <a:off x="55143" y="56854"/>
        <a:ext cx="2797506" cy="1019319"/>
      </dsp:txXfrm>
    </dsp:sp>
    <dsp:sp modelId="{E22513E2-4AEE-459D-9B17-A4CAF3F45E1E}">
      <dsp:nvSpPr>
        <dsp:cNvPr id="0" name=""/>
        <dsp:cNvSpPr/>
      </dsp:nvSpPr>
      <dsp:spPr>
        <a:xfrm rot="5400000">
          <a:off x="5040653" y="-832104"/>
          <a:ext cx="90368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Monitor validity </a:t>
          </a:r>
          <a:r>
            <a:rPr lang="en-US" sz="1600" kern="1200" dirty="0" smtClean="0">
              <a:solidFill>
                <a:schemeClr val="bg1">
                  <a:lumMod val="50000"/>
                </a:schemeClr>
              </a:solidFill>
              <a:sym typeface="Wingdings"/>
            </a:rPr>
            <a:t></a:t>
          </a:r>
          <a:endParaRPr lang="en-US" sz="1600" kern="1200" dirty="0">
            <a:solidFill>
              <a:schemeClr val="bg1">
                <a:lumMod val="50000"/>
              </a:schemeClr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Ensure reliability </a:t>
          </a:r>
          <a:r>
            <a:rPr lang="en-US" sz="1600" kern="1200" dirty="0" smtClean="0">
              <a:sym typeface="Wingdings"/>
            </a:rPr>
            <a:t>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Assure accuracy </a:t>
          </a:r>
          <a:r>
            <a:rPr lang="en-US" sz="1600" kern="1200" dirty="0" smtClean="0">
              <a:solidFill>
                <a:schemeClr val="bg1">
                  <a:lumMod val="50000"/>
                </a:schemeClr>
              </a:solidFill>
              <a:sym typeface="Wingdings"/>
            </a:rPr>
            <a:t></a:t>
          </a:r>
          <a:endParaRPr lang="en-US" sz="1600" kern="1200" dirty="0">
            <a:solidFill>
              <a:schemeClr val="bg1">
                <a:lumMod val="50000"/>
              </a:schemeClr>
            </a:solidFill>
          </a:endParaRPr>
        </a:p>
      </dsp:txBody>
      <dsp:txXfrm rot="-5400000">
        <a:off x="2907791" y="1344872"/>
        <a:ext cx="5125294" cy="815456"/>
      </dsp:txXfrm>
    </dsp:sp>
    <dsp:sp modelId="{3A31A9B2-AE89-42AE-BD1C-200C686D3979}">
      <dsp:nvSpPr>
        <dsp:cNvPr id="0" name=""/>
        <dsp:cNvSpPr/>
      </dsp:nvSpPr>
      <dsp:spPr>
        <a:xfrm>
          <a:off x="0" y="1187796"/>
          <a:ext cx="2907792" cy="11296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ENSURE HIGH QUALITY DATA</a:t>
          </a:r>
          <a:endParaRPr lang="en-US" sz="2000" kern="1200" dirty="0"/>
        </a:p>
      </dsp:txBody>
      <dsp:txXfrm>
        <a:off x="55143" y="1242939"/>
        <a:ext cx="2797506" cy="1019319"/>
      </dsp:txXfrm>
    </dsp:sp>
    <dsp:sp modelId="{AF39CC9E-5127-4361-B6DA-78A66403F56C}">
      <dsp:nvSpPr>
        <dsp:cNvPr id="0" name=""/>
        <dsp:cNvSpPr/>
      </dsp:nvSpPr>
      <dsp:spPr>
        <a:xfrm rot="5400000">
          <a:off x="5040653" y="353980"/>
          <a:ext cx="903684" cy="516940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Make meaningful distinction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Prioritize support and feedback </a:t>
          </a:r>
          <a:r>
            <a:rPr lang="en-US" sz="1600" kern="1200" dirty="0" smtClean="0">
              <a:sym typeface="Wingdings"/>
            </a:rPr>
            <a:t>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Use data for decisions at all levels </a:t>
          </a:r>
          <a:r>
            <a:rPr lang="en-US" sz="1600" kern="1200" dirty="0" smtClean="0">
              <a:solidFill>
                <a:schemeClr val="bg1">
                  <a:lumMod val="50000"/>
                </a:schemeClr>
              </a:solidFill>
              <a:sym typeface="Wingdings"/>
            </a:rPr>
            <a:t></a:t>
          </a:r>
          <a:endParaRPr lang="en-US" sz="1600" kern="1200" dirty="0"/>
        </a:p>
      </dsp:txBody>
      <dsp:txXfrm rot="-5400000">
        <a:off x="2907791" y="2530956"/>
        <a:ext cx="5125294" cy="815456"/>
      </dsp:txXfrm>
    </dsp:sp>
    <dsp:sp modelId="{8F79C8D9-4CA7-4BE8-B960-4EA106EDE4B8}">
      <dsp:nvSpPr>
        <dsp:cNvPr id="0" name=""/>
        <dsp:cNvSpPr/>
      </dsp:nvSpPr>
      <dsp:spPr>
        <a:xfrm>
          <a:off x="0" y="2373882"/>
          <a:ext cx="2907792" cy="11296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NVEST IN IMPROVEMENT</a:t>
          </a:r>
          <a:endParaRPr lang="en-US" sz="2000" kern="1200" dirty="0"/>
        </a:p>
      </dsp:txBody>
      <dsp:txXfrm>
        <a:off x="55143" y="2429025"/>
        <a:ext cx="2797506" cy="10193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7C807E-6016-4914-8260-D0341D860688}">
      <dsp:nvSpPr>
        <dsp:cNvPr id="0" name=""/>
        <dsp:cNvSpPr/>
      </dsp:nvSpPr>
      <dsp:spPr>
        <a:xfrm>
          <a:off x="2150726" y="4472"/>
          <a:ext cx="1108747" cy="53144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DCTA</a:t>
          </a:r>
          <a:endParaRPr lang="en-US" sz="1100" b="1" kern="1200" dirty="0"/>
        </a:p>
      </dsp:txBody>
      <dsp:txXfrm>
        <a:off x="2176669" y="30415"/>
        <a:ext cx="1056861" cy="479557"/>
      </dsp:txXfrm>
    </dsp:sp>
    <dsp:sp modelId="{C5BB1977-48E4-4828-9399-B1880106DF55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2597173" y="77823"/>
              </a:moveTo>
              <a:arcTo wR="2039194" hR="2039194" stAng="17152812" swAng="619916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E97DCC-07FA-4A55-B881-5068AA7D58E0}">
      <dsp:nvSpPr>
        <dsp:cNvPr id="0" name=""/>
        <dsp:cNvSpPr/>
      </dsp:nvSpPr>
      <dsp:spPr>
        <a:xfrm>
          <a:off x="3461495" y="481553"/>
          <a:ext cx="1108747" cy="531443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5 Design Teams</a:t>
          </a:r>
          <a:endParaRPr lang="en-US" sz="1100" b="1" kern="1200" dirty="0"/>
        </a:p>
      </dsp:txBody>
      <dsp:txXfrm>
        <a:off x="3487438" y="507496"/>
        <a:ext cx="1056861" cy="479557"/>
      </dsp:txXfrm>
    </dsp:sp>
    <dsp:sp modelId="{639C107A-23BC-4D42-B92A-BDCFC037F356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3618147" y="748759"/>
              </a:moveTo>
              <a:arcTo wR="2039194" hR="2039194" stAng="19244508" swAng="1280783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77B24B-16AF-45D8-B9CF-222C2009D39F}">
      <dsp:nvSpPr>
        <dsp:cNvPr id="0" name=""/>
        <dsp:cNvSpPr/>
      </dsp:nvSpPr>
      <dsp:spPr>
        <a:xfrm>
          <a:off x="4158941" y="1689564"/>
          <a:ext cx="1108747" cy="531443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Focus Groups</a:t>
          </a:r>
          <a:endParaRPr lang="en-US" sz="1100" b="1" kern="1200" dirty="0"/>
        </a:p>
      </dsp:txBody>
      <dsp:txXfrm>
        <a:off x="4184884" y="1715507"/>
        <a:ext cx="1056861" cy="479557"/>
      </dsp:txXfrm>
    </dsp:sp>
    <dsp:sp modelId="{F0816805-BA16-4134-930C-73AAC9A3CD1D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4076825" y="1959349"/>
              </a:moveTo>
              <a:arcTo wR="2039194" hR="2039194" stAng="21465359" swAng="1422040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50FF35-2B7C-457C-9FBB-E355C8DDCF02}">
      <dsp:nvSpPr>
        <dsp:cNvPr id="0" name=""/>
        <dsp:cNvSpPr/>
      </dsp:nvSpPr>
      <dsp:spPr>
        <a:xfrm>
          <a:off x="3916720" y="3063264"/>
          <a:ext cx="1108747" cy="531443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Faculty Meetings</a:t>
          </a:r>
          <a:endParaRPr lang="en-US" sz="1100" b="1" kern="1200" dirty="0"/>
        </a:p>
      </dsp:txBody>
      <dsp:txXfrm>
        <a:off x="3942663" y="3089207"/>
        <a:ext cx="1056861" cy="479557"/>
      </dsp:txXfrm>
    </dsp:sp>
    <dsp:sp modelId="{CE0F55A5-B651-46F8-B071-10D4D062A718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3618962" y="3328632"/>
              </a:moveTo>
              <a:arcTo wR="2039194" hR="2039194" stAng="2353320" swAng="879883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5BCB1D-22A3-4FA6-9594-848521015DEF}">
      <dsp:nvSpPr>
        <dsp:cNvPr id="0" name=""/>
        <dsp:cNvSpPr/>
      </dsp:nvSpPr>
      <dsp:spPr>
        <a:xfrm>
          <a:off x="2848172" y="3959883"/>
          <a:ext cx="1108747" cy="531443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Teacher Leaders</a:t>
          </a:r>
          <a:endParaRPr lang="en-US" sz="1100" b="1" kern="1200" dirty="0"/>
        </a:p>
      </dsp:txBody>
      <dsp:txXfrm>
        <a:off x="2874115" y="3985826"/>
        <a:ext cx="1056861" cy="479557"/>
      </dsp:txXfrm>
    </dsp:sp>
    <dsp:sp modelId="{02C2817F-DB29-491A-A676-7814585D09C5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2179412" y="4073562"/>
              </a:moveTo>
              <a:arcTo wR="2039194" hR="2039194" stAng="5163430" swAng="473141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C787B4-6F55-4875-B17C-E78C8809FA96}">
      <dsp:nvSpPr>
        <dsp:cNvPr id="0" name=""/>
        <dsp:cNvSpPr/>
      </dsp:nvSpPr>
      <dsp:spPr>
        <a:xfrm>
          <a:off x="1453280" y="3959883"/>
          <a:ext cx="1108747" cy="53144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LEAP Hotline &amp; Website</a:t>
          </a:r>
          <a:endParaRPr lang="en-US" sz="1100" b="1" kern="1200" dirty="0"/>
        </a:p>
      </dsp:txBody>
      <dsp:txXfrm>
        <a:off x="1479223" y="3985826"/>
        <a:ext cx="1056861" cy="479557"/>
      </dsp:txXfrm>
    </dsp:sp>
    <dsp:sp modelId="{4538E757-0C8D-44D2-B584-623E5227702B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837326" y="3686564"/>
              </a:moveTo>
              <a:arcTo wR="2039194" hR="2039194" stAng="7566797" swAng="879883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3C1709-0EF3-4386-83E4-BBF54B9EF7C1}">
      <dsp:nvSpPr>
        <dsp:cNvPr id="0" name=""/>
        <dsp:cNvSpPr/>
      </dsp:nvSpPr>
      <dsp:spPr>
        <a:xfrm>
          <a:off x="384732" y="3063264"/>
          <a:ext cx="1108747" cy="531443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Multiple Years of Design</a:t>
          </a:r>
          <a:endParaRPr lang="en-US" sz="1100" b="1" kern="1200" dirty="0"/>
        </a:p>
      </dsp:txBody>
      <dsp:txXfrm>
        <a:off x="410675" y="3089207"/>
        <a:ext cx="1056861" cy="479557"/>
      </dsp:txXfrm>
    </dsp:sp>
    <dsp:sp modelId="{265E4316-4494-4813-9070-EBFD97E0118C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141327" y="2785126"/>
              </a:moveTo>
              <a:arcTo wR="2039194" hR="2039194" stAng="9512601" swAng="1422040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6BA6E2-55B5-45A7-BFE8-21FDC31C7043}">
      <dsp:nvSpPr>
        <dsp:cNvPr id="0" name=""/>
        <dsp:cNvSpPr/>
      </dsp:nvSpPr>
      <dsp:spPr>
        <a:xfrm>
          <a:off x="142511" y="1689564"/>
          <a:ext cx="1108747" cy="531443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Newsletters, Websites</a:t>
          </a:r>
          <a:endParaRPr lang="en-US" sz="1100" b="1" kern="1200" dirty="0"/>
        </a:p>
      </dsp:txBody>
      <dsp:txXfrm>
        <a:off x="168454" y="1715507"/>
        <a:ext cx="1056861" cy="479557"/>
      </dsp:txXfrm>
    </dsp:sp>
    <dsp:sp modelId="{25DE4E5F-5333-435D-ABA3-B156EBAAC83A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98837" y="1412034"/>
              </a:moveTo>
              <a:arcTo wR="2039194" hR="2039194" stAng="11874709" swAng="1280783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F638D7-484D-45C7-B60A-B44607204373}">
      <dsp:nvSpPr>
        <dsp:cNvPr id="0" name=""/>
        <dsp:cNvSpPr/>
      </dsp:nvSpPr>
      <dsp:spPr>
        <a:xfrm>
          <a:off x="839957" y="481553"/>
          <a:ext cx="1108747" cy="531443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/>
            <a:t>DCTA Liaison and Outreach Managers</a:t>
          </a:r>
          <a:endParaRPr lang="en-US" sz="1100" b="1" kern="1200" dirty="0"/>
        </a:p>
      </dsp:txBody>
      <dsp:txXfrm>
        <a:off x="865900" y="507496"/>
        <a:ext cx="1056861" cy="479557"/>
      </dsp:txXfrm>
    </dsp:sp>
    <dsp:sp modelId="{55D109C8-DF05-4262-9950-AC17F113218F}">
      <dsp:nvSpPr>
        <dsp:cNvPr id="0" name=""/>
        <dsp:cNvSpPr/>
      </dsp:nvSpPr>
      <dsp:spPr>
        <a:xfrm>
          <a:off x="665905" y="270194"/>
          <a:ext cx="4078389" cy="4078389"/>
        </a:xfrm>
        <a:custGeom>
          <a:avLst/>
          <a:gdLst/>
          <a:ahLst/>
          <a:cxnLst/>
          <a:rect l="0" t="0" r="0" b="0"/>
          <a:pathLst>
            <a:path>
              <a:moveTo>
                <a:pt x="1138490" y="209700"/>
              </a:moveTo>
              <a:arcTo wR="2039194" hR="2039194" stAng="14627272" swAng="619916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0AC10A-A442-4E57-85D3-07F2EFC07D43}">
      <dsp:nvSpPr>
        <dsp:cNvPr id="0" name=""/>
        <dsp:cNvSpPr/>
      </dsp:nvSpPr>
      <dsp:spPr>
        <a:xfrm rot="16200000">
          <a:off x="-1767768" y="1769752"/>
          <a:ext cx="5486400" cy="1946895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u="sng" kern="1200" dirty="0" smtClean="0"/>
            <a:t>Spring 2011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Tripod survey piloted in 16 schools</a:t>
          </a:r>
          <a:endParaRPr lang="en-US" sz="1800" b="1" u="sng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Feedback:</a:t>
          </a:r>
          <a:endParaRPr lang="en-US" sz="1200" b="1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Too long (75+ questions)</a:t>
          </a:r>
          <a:endParaRPr lang="en-US" sz="1200" b="0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Not specialized for ELLs, ECE, or Special Education</a:t>
          </a:r>
          <a:endParaRPr lang="en-US" sz="1200" b="0" kern="1200" dirty="0"/>
        </a:p>
      </dsp:txBody>
      <dsp:txXfrm rot="5400000">
        <a:off x="1984" y="1097280"/>
        <a:ext cx="1946895" cy="3291840"/>
      </dsp:txXfrm>
    </dsp:sp>
    <dsp:sp modelId="{C9B16025-CCC9-40E2-9FEB-B37BBC4BD5B7}">
      <dsp:nvSpPr>
        <dsp:cNvPr id="0" name=""/>
        <dsp:cNvSpPr/>
      </dsp:nvSpPr>
      <dsp:spPr>
        <a:xfrm rot="16200000">
          <a:off x="325143" y="1769752"/>
          <a:ext cx="5486400" cy="1946895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u="sng" kern="1200" dirty="0" smtClean="0"/>
            <a:t>2011-12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DPS-modified survey piloted in 127 schools</a:t>
          </a:r>
          <a:endParaRPr lang="en-US" sz="1600" b="1" u="sng" kern="1200" dirty="0" smtClean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Shortened survey administered for 2,941 teachers (9-22 Q’s, based on grade level)</a:t>
          </a:r>
          <a:endParaRPr lang="en-US" sz="1200" b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Modifications in survey and administration  to support </a:t>
          </a:r>
          <a:r>
            <a:rPr lang="en-US" sz="1200" b="1" kern="1200" dirty="0" smtClean="0"/>
            <a:t>ECE, ELLs, and Special Education students</a:t>
          </a:r>
          <a:endParaRPr lang="en-US" sz="12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Spring 2012 survey administered for 1,713 teachers</a:t>
          </a:r>
          <a:endParaRPr lang="en-US" sz="1200" b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b="0" kern="1200" dirty="0"/>
        </a:p>
      </dsp:txBody>
      <dsp:txXfrm rot="5400000">
        <a:off x="2094895" y="1097280"/>
        <a:ext cx="1946895" cy="3291840"/>
      </dsp:txXfrm>
    </dsp:sp>
    <dsp:sp modelId="{09BA51A1-A137-4576-87E3-567D890527CA}">
      <dsp:nvSpPr>
        <dsp:cNvPr id="0" name=""/>
        <dsp:cNvSpPr/>
      </dsp:nvSpPr>
      <dsp:spPr>
        <a:xfrm rot="16200000">
          <a:off x="2418056" y="1769752"/>
          <a:ext cx="5486400" cy="1946895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u="sng" kern="1200" dirty="0" smtClean="0"/>
            <a:t>2012-2013</a:t>
          </a:r>
          <a:endParaRPr lang="en-US" sz="1600" b="1" u="sng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urvey expanded to include questions on rigor (9-29 Q’s)</a:t>
          </a:r>
          <a:endParaRPr lang="en-US" sz="1600" b="1" u="sng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Separate surveys for grades 3-5 and 6-12 with differentiated content</a:t>
          </a:r>
          <a:endParaRPr lang="en-US" sz="1200" b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All LEAP schools participated in grades 3-5 and 6-12 surveys</a:t>
          </a:r>
          <a:endParaRPr lang="en-US" sz="1200" b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Survey for grades ECE-2 piloted (optional)</a:t>
          </a:r>
          <a:endParaRPr lang="en-US" sz="12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61,277 survey responses results for 2,829 teachers</a:t>
          </a:r>
          <a:endParaRPr lang="en-US" sz="12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1" kern="1200" dirty="0" smtClean="0"/>
            <a:t>Survey administered in fall only</a:t>
          </a:r>
          <a:endParaRPr lang="en-US" sz="1200" b="1" kern="1200" dirty="0"/>
        </a:p>
      </dsp:txBody>
      <dsp:txXfrm rot="5400000">
        <a:off x="4187808" y="1097280"/>
        <a:ext cx="1946895" cy="3291840"/>
      </dsp:txXfrm>
    </dsp:sp>
    <dsp:sp modelId="{69F3D206-5D7D-834C-ABBF-8EBCC5EAD97F}">
      <dsp:nvSpPr>
        <dsp:cNvPr id="0" name=""/>
        <dsp:cNvSpPr/>
      </dsp:nvSpPr>
      <dsp:spPr>
        <a:xfrm rot="16200000">
          <a:off x="4510968" y="1769752"/>
          <a:ext cx="5486400" cy="1946895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u="sng" kern="1200" dirty="0" smtClean="0"/>
            <a:t>2013-2014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ECE-2 survey eliminated . Grades 3-5 and 6-12 survey content combined to a single survey </a:t>
          </a:r>
          <a:endParaRPr lang="en-US" sz="1600" b="1" u="sng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Fall administration window lengthened and spring makeup window added</a:t>
          </a:r>
          <a:endParaRPr lang="en-US" sz="1200" b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Prior to the makeup window had </a:t>
          </a:r>
          <a:r>
            <a:rPr lang="en-US" sz="1200" kern="1200" dirty="0" smtClean="0"/>
            <a:t>79,000 survey responses  and results for 2,877 teachers (final results available in April).</a:t>
          </a:r>
          <a:endParaRPr lang="en-US" sz="1200" b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b="0" kern="1200" dirty="0" smtClean="0"/>
            <a:t>SPS scores used in LEAP ratings for first time (10%)</a:t>
          </a:r>
          <a:endParaRPr lang="en-US" sz="1200" b="0" kern="1200" dirty="0"/>
        </a:p>
      </dsp:txBody>
      <dsp:txXfrm rot="5400000">
        <a:off x="6280720" y="1097280"/>
        <a:ext cx="1946895" cy="3291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428C33-BFCA-8F49-B3D8-1D29AB2C6835}" type="datetimeFigureOut">
              <a:rPr lang="en-US" smtClean="0"/>
              <a:t>5/1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39EAF0-5E18-C54F-949A-40837CE057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296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00871-F0CC-4271-BBAE-D518C61D443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4212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00871-F0CC-4271-BBAE-D518C61D443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65169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00871-F0CC-4271-BBAE-D518C61D443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494244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00871-F0CC-4271-BBAE-D518C61D443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57268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00871-F0CC-4271-BBAE-D518C61D443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0107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A3DA-8E4B-4137-ADAB-289E41CFE170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8967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9C27CCB-0CA5-498B-9F71-F86098A8EC40}" type="slidenum">
              <a:rPr lang="en-US">
                <a:solidFill>
                  <a:prstClr val="black"/>
                </a:solidFill>
                <a:latin typeface="Calibri"/>
              </a:rPr>
              <a:pPr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5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4038" y="4911724"/>
            <a:ext cx="5845175" cy="348276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C221FA-9C71-47D8-AB9A-CC0D7BE98F2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68893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18AEF-5275-4917-B795-3D9362CEF69D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0554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B5DF05-6961-456B-B285-5D9135066A1F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972528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8244" indent="-168244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B5DF05-6961-456B-B285-5D9135066A1F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61363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00871-F0CC-4271-BBAE-D518C61D443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8244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ACE222-2454-4FB2-85CD-6C81BAC244E9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200871-F0CC-4271-BBAE-D518C61D443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9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8082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Relationship Id="rId3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Relationship Id="rId3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png"/><Relationship Id="rId3" Type="http://schemas.openxmlformats.org/officeDocument/2006/relationships/image" Target="../media/image11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Relationship Id="rId3" Type="http://schemas.openxmlformats.org/officeDocument/2006/relationships/image" Target="../media/image1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06ACA-E94A-4DCB-B2D8-33ED88BEFBA9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90627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0C737-900D-4D7D-BA93-EA2973E2E6B1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6200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0"/>
            <a:ext cx="2057400" cy="5211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0"/>
            <a:ext cx="6019800" cy="5211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DE28D-5817-49C6-AD38-3B02B7CAEDD2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700082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2AF07-B80E-4012-9D5F-3095E8D961B1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739F70-1484-4551-AF84-A3863B67B117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150586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070A1-CA5B-4D0C-9449-0CA9B5B6EE8F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04800" y="914400"/>
            <a:ext cx="8534400" cy="274320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4"/>
          </p:nvPr>
        </p:nvSpPr>
        <p:spPr>
          <a:xfrm>
            <a:off x="304800" y="3733800"/>
            <a:ext cx="4191000" cy="25146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5"/>
          </p:nvPr>
        </p:nvSpPr>
        <p:spPr>
          <a:xfrm>
            <a:off x="4572000" y="3733800"/>
            <a:ext cx="4267200" cy="25146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169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D9CE6-9C63-4C1C-ADEB-D14D6BA16537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/>
            </a:lvl1pPr>
          </a:lstStyle>
          <a:p>
            <a:pPr>
              <a:defRPr/>
            </a:pPr>
            <a:fld id="{96EFD33B-B760-4DB6-BE2A-17E0CEB192A4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63576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E47E0-D2CC-4182-BB3E-41F33C6B6A90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47700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A6B7E0-5696-4CB3-A13B-116DD762AF30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76906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76200"/>
            <a:ext cx="8077200" cy="715962"/>
          </a:xfrm>
        </p:spPr>
        <p:txBody>
          <a:bodyPr/>
          <a:lstStyle>
            <a:lvl1pPr>
              <a:defRPr sz="3200" i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0E903C-AE2F-4007-825A-E71C96296374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802844-D0CC-453D-8F15-0410C54BFBF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90600" y="1066800"/>
            <a:ext cx="7696200" cy="4953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9934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76200"/>
            <a:ext cx="8077200" cy="715962"/>
          </a:xfrm>
        </p:spPr>
        <p:txBody>
          <a:bodyPr/>
          <a:lstStyle>
            <a:lvl1pPr>
              <a:defRPr sz="3200" i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F3DA34E-C41D-4940-A307-ADBD51DC1CB4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802844-D0CC-453D-8F15-0410C54BFBF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90600" y="1066800"/>
            <a:ext cx="7696200" cy="4953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0949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1FD3CD-DAC1-465E-98EE-0497688DC4CD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EFD33B-B760-4DB6-BE2A-17E0CEB192A4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81200" y="304800"/>
            <a:ext cx="7086600" cy="838200"/>
          </a:xfrm>
          <a:prstGeom prst="rect">
            <a:avLst/>
          </a:prstGeom>
        </p:spPr>
        <p:txBody>
          <a:bodyPr/>
          <a:lstStyle>
            <a:lvl1pPr>
              <a:defRPr sz="280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2003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76200"/>
            <a:ext cx="8077200" cy="715962"/>
          </a:xfrm>
        </p:spPr>
        <p:txBody>
          <a:bodyPr/>
          <a:lstStyle>
            <a:lvl1pPr>
              <a:defRPr sz="3200" i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2978266-4F1B-4A29-87BF-2F0C5F72FEB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802844-D0CC-453D-8F15-0410C54BFBF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90600" y="1066800"/>
            <a:ext cx="7696200" cy="4953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633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B6EB-68AC-4E2E-80E7-3CD345898600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228506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65550"/>
            <a:ext cx="5029200" cy="309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 rot="16200000">
            <a:off x="-987425" y="5641975"/>
            <a:ext cx="2203450" cy="228600"/>
          </a:xfrm>
          <a:prstGeom prst="rect">
            <a:avLst/>
          </a:prstGeom>
          <a:solidFill>
            <a:srgbClr val="B8236B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 rot="16200000">
            <a:off x="-987425" y="3314700"/>
            <a:ext cx="2203450" cy="228600"/>
          </a:xfrm>
          <a:prstGeom prst="rect">
            <a:avLst/>
          </a:prstGeom>
          <a:solidFill>
            <a:srgbClr val="60BB46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 rot="16200000">
            <a:off x="-987425" y="987425"/>
            <a:ext cx="2203450" cy="228600"/>
          </a:xfrm>
          <a:prstGeom prst="rect">
            <a:avLst/>
          </a:prstGeom>
          <a:solidFill>
            <a:srgbClr val="4785C5"/>
          </a:solidFill>
          <a:ln>
            <a:noFill/>
          </a:ln>
          <a:effectLst>
            <a:outerShdw blurRad="50800" dist="38100" algn="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6169025"/>
            <a:ext cx="1143000" cy="53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685800" y="1676400"/>
            <a:ext cx="8229600" cy="50292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09600" y="381000"/>
            <a:ext cx="82296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rgbClr val="B8236B"/>
                </a:solidFill>
                <a:latin typeface="Tw Cen MT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079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reen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7" y="4797552"/>
            <a:ext cx="9144000" cy="20604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5146555"/>
            <a:ext cx="7772400" cy="492245"/>
          </a:xfrm>
        </p:spPr>
        <p:txBody>
          <a:bodyPr>
            <a:normAutofit/>
          </a:bodyPr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5627562"/>
            <a:ext cx="6400800" cy="49224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LogoLarg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2171" y="744456"/>
            <a:ext cx="2919055" cy="3502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696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urple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97552"/>
            <a:ext cx="9144000" cy="20604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5146555"/>
            <a:ext cx="7772400" cy="492245"/>
          </a:xfrm>
        </p:spPr>
        <p:txBody>
          <a:bodyPr>
            <a:normAutofit/>
          </a:bodyPr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5627562"/>
            <a:ext cx="6400800" cy="492245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LogoLarg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2171" y="744456"/>
            <a:ext cx="2919055" cy="3502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38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een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44" y="1292372"/>
            <a:ext cx="8234845" cy="2933122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ct val="85000"/>
              </a:lnSpc>
              <a:defRPr sz="7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43" y="4204616"/>
            <a:ext cx="8234845" cy="698354"/>
          </a:xfrm>
        </p:spPr>
        <p:txBody>
          <a:bodyPr anchor="t">
            <a:normAutofit/>
          </a:bodyPr>
          <a:lstStyle>
            <a:lvl1pPr marL="0" indent="0">
              <a:buNone/>
              <a:defRPr sz="37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CEI_LogoRevWhite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0594" y="5815461"/>
            <a:ext cx="727075" cy="9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4246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urple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44" y="1292372"/>
            <a:ext cx="8234845" cy="2933122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ct val="85000"/>
              </a:lnSpc>
              <a:defRPr sz="7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43" y="4204616"/>
            <a:ext cx="8234845" cy="698354"/>
          </a:xfrm>
        </p:spPr>
        <p:txBody>
          <a:bodyPr anchor="t">
            <a:normAutofit/>
          </a:bodyPr>
          <a:lstStyle>
            <a:lvl1pPr marL="0" indent="0">
              <a:buNone/>
              <a:defRPr sz="37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CEI_LogoRevWhite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0594" y="5815461"/>
            <a:ext cx="727075" cy="95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395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eenBannerTop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1127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5785" y="168570"/>
            <a:ext cx="8229600" cy="992904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307" y="1723818"/>
            <a:ext cx="8083493" cy="3895191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2332" y="5737476"/>
            <a:ext cx="8522440" cy="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 descr="CEI_Logo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0594" y="5815461"/>
            <a:ext cx="727075" cy="958850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03250" y="6506811"/>
            <a:ext cx="6870700" cy="267051"/>
          </a:xfrm>
        </p:spPr>
        <p:txBody>
          <a:bodyPr>
            <a:noAutofit/>
          </a:bodyPr>
          <a:lstStyle>
            <a:lvl1pPr marL="0" indent="0">
              <a:buNone/>
              <a:defRPr sz="14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400" b="0">
                <a:solidFill>
                  <a:schemeClr val="accent1"/>
                </a:solidFill>
              </a:defRPr>
            </a:lvl2pPr>
            <a:lvl3pPr marL="914400" indent="0">
              <a:buNone/>
              <a:defRPr sz="1400" b="0">
                <a:solidFill>
                  <a:schemeClr val="accent1"/>
                </a:solidFill>
              </a:defRPr>
            </a:lvl3pPr>
            <a:lvl4pPr marL="1371600" indent="0">
              <a:buNone/>
              <a:defRPr sz="1400" b="0">
                <a:solidFill>
                  <a:schemeClr val="accent1"/>
                </a:solidFill>
              </a:defRPr>
            </a:lvl4pPr>
            <a:lvl5pPr marL="1828800" indent="0">
              <a:buNone/>
              <a:defRPr sz="14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/Date Footer Info</a:t>
            </a:r>
          </a:p>
        </p:txBody>
      </p:sp>
    </p:spTree>
    <p:extLst>
      <p:ext uri="{BB962C8B-B14F-4D97-AF65-F5344CB8AC3E}">
        <p14:creationId xmlns:p14="http://schemas.microsoft.com/office/powerpoint/2010/main" val="17107312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urpleBannerTop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1127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5785" y="168570"/>
            <a:ext cx="8229600" cy="992904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307" y="1723818"/>
            <a:ext cx="8083493" cy="3895191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2332" y="5737476"/>
            <a:ext cx="8522440" cy="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10" descr="CEI_Logo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0594" y="5815461"/>
            <a:ext cx="727075" cy="958850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03250" y="6506811"/>
            <a:ext cx="6870700" cy="267051"/>
          </a:xfrm>
        </p:spPr>
        <p:txBody>
          <a:bodyPr>
            <a:noAutofit/>
          </a:bodyPr>
          <a:lstStyle>
            <a:lvl1pPr marL="0" indent="0">
              <a:buNone/>
              <a:defRPr sz="14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400" b="0">
                <a:solidFill>
                  <a:schemeClr val="accent1"/>
                </a:solidFill>
              </a:defRPr>
            </a:lvl2pPr>
            <a:lvl3pPr marL="914400" indent="0">
              <a:buNone/>
              <a:defRPr sz="1400" b="0">
                <a:solidFill>
                  <a:schemeClr val="accent1"/>
                </a:solidFill>
              </a:defRPr>
            </a:lvl3pPr>
            <a:lvl4pPr marL="1371600" indent="0">
              <a:buNone/>
              <a:defRPr sz="1400" b="0">
                <a:solidFill>
                  <a:schemeClr val="accent1"/>
                </a:solidFill>
              </a:defRPr>
            </a:lvl4pPr>
            <a:lvl5pPr marL="1828800" indent="0">
              <a:buNone/>
              <a:defRPr sz="14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/Date Footer Info</a:t>
            </a:r>
          </a:p>
        </p:txBody>
      </p:sp>
    </p:spTree>
    <p:extLst>
      <p:ext uri="{BB962C8B-B14F-4D97-AF65-F5344CB8AC3E}">
        <p14:creationId xmlns:p14="http://schemas.microsoft.com/office/powerpoint/2010/main" val="7511645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Green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7" y="5731389"/>
            <a:ext cx="9144000" cy="1126610"/>
          </a:xfrm>
          <a:prstGeom prst="rect">
            <a:avLst/>
          </a:prstGeom>
        </p:spPr>
      </p:pic>
      <p:pic>
        <p:nvPicPr>
          <p:cNvPr id="10" name="Picture 9" descr="LogoLarg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730" y="2207933"/>
            <a:ext cx="1877966" cy="2253560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774953" y="4865813"/>
            <a:ext cx="5383213" cy="258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00" b="0"/>
            </a:lvl1pPr>
            <a:lvl2pPr marL="0" indent="0">
              <a:spcBef>
                <a:spcPts val="0"/>
              </a:spcBef>
              <a:buFontTx/>
              <a:buNone/>
              <a:defRPr sz="1400" b="0"/>
            </a:lvl2pPr>
            <a:lvl3pPr marL="0" indent="0">
              <a:spcBef>
                <a:spcPts val="0"/>
              </a:spcBef>
              <a:buFontTx/>
              <a:buNone/>
              <a:defRPr sz="1400" b="0"/>
            </a:lvl3pPr>
            <a:lvl4pPr marL="0" indent="0">
              <a:spcBef>
                <a:spcPts val="0"/>
              </a:spcBef>
              <a:buFontTx/>
              <a:buNone/>
              <a:defRPr sz="1400" b="0"/>
            </a:lvl4pPr>
            <a:lvl5pPr marL="0" indent="0">
              <a:spcBef>
                <a:spcPts val="0"/>
              </a:spcBef>
              <a:buFontTx/>
              <a:buNone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4414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urpleBa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7" y="5731389"/>
            <a:ext cx="9144000" cy="1126610"/>
          </a:xfrm>
          <a:prstGeom prst="rect">
            <a:avLst/>
          </a:prstGeom>
        </p:spPr>
      </p:pic>
      <p:pic>
        <p:nvPicPr>
          <p:cNvPr id="10" name="Picture 9" descr="LogoLarg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730" y="2207933"/>
            <a:ext cx="1877966" cy="2253560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774953" y="4865813"/>
            <a:ext cx="5383213" cy="2587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0" indent="0">
              <a:spcBef>
                <a:spcPts val="0"/>
              </a:spcBef>
              <a:buFontTx/>
              <a:buNone/>
              <a:defRPr sz="1400"/>
            </a:lvl2pPr>
            <a:lvl3pPr marL="0" indent="0">
              <a:spcBef>
                <a:spcPts val="0"/>
              </a:spcBef>
              <a:buFontTx/>
              <a:buNone/>
              <a:defRPr sz="1400"/>
            </a:lvl3pPr>
            <a:lvl4pPr marL="0" indent="0">
              <a:spcBef>
                <a:spcPts val="0"/>
              </a:spcBef>
              <a:buFontTx/>
              <a:buNone/>
              <a:defRPr sz="1400"/>
            </a:lvl4pPr>
            <a:lvl5pPr marL="0" indent="0">
              <a:spcBef>
                <a:spcPts val="0"/>
              </a:spcBef>
              <a:buFontTx/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36929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31291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  <a:latin typeface="Arial"/>
              </a:defRPr>
            </a:lvl1pPr>
            <a:lvl2pPr>
              <a:defRPr>
                <a:solidFill>
                  <a:schemeClr val="tx2"/>
                </a:solidFill>
                <a:latin typeface="Arial"/>
              </a:defRPr>
            </a:lvl2pPr>
            <a:lvl3pPr>
              <a:defRPr>
                <a:solidFill>
                  <a:schemeClr val="tx2"/>
                </a:solidFill>
                <a:latin typeface="Arial"/>
              </a:defRPr>
            </a:lvl3pPr>
            <a:lvl4pPr>
              <a:defRPr>
                <a:solidFill>
                  <a:schemeClr val="tx2"/>
                </a:solidFill>
                <a:latin typeface="Arial"/>
              </a:defRPr>
            </a:lvl4pPr>
            <a:lvl5pPr>
              <a:defRPr>
                <a:solidFill>
                  <a:schemeClr val="tx2"/>
                </a:solidFill>
                <a:latin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6163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CBEFD7-9406-48EA-A58A-4A4EEBBF32B1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35751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>
            <a:lvl1pPr>
              <a:defRPr>
                <a:latin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4610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56643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F13F3-2A00-45AF-A8F6-27DC27A044D7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67125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0AE97-E4D5-4815-A91F-0CFE459BC18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9807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57351-0EC7-4830-BA53-1F410DCF15D5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8969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E0BE2-A33F-4DC8-A55E-EFC5F1ECC827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41717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14400"/>
            <a:ext cx="3008313" cy="9906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914400"/>
            <a:ext cx="5111750" cy="52117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905000"/>
            <a:ext cx="3008313" cy="42211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F8411-7607-44A2-8445-1D15A17092F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9223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838199"/>
            <a:ext cx="5486400" cy="38893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80B81-1C3F-4701-8EFD-4E7A38DAA4A1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1685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theme" Target="../theme/theme1.xml"/><Relationship Id="rId22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6.xml"/><Relationship Id="rId7" Type="http://schemas.openxmlformats.org/officeDocument/2006/relationships/slideLayout" Target="../slideLayouts/slideLayout27.xml"/><Relationship Id="rId8" Type="http://schemas.openxmlformats.org/officeDocument/2006/relationships/slideLayout" Target="../slideLayouts/slideLayout28.xml"/><Relationship Id="rId9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3DACB94-A246-4079-8587-0F4EB835C044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pSp>
        <p:nvGrpSpPr>
          <p:cNvPr id="9" name="Group 6"/>
          <p:cNvGrpSpPr>
            <a:grpSpLocks/>
          </p:cNvGrpSpPr>
          <p:nvPr userDrawn="1"/>
        </p:nvGrpSpPr>
        <p:grpSpPr bwMode="auto">
          <a:xfrm>
            <a:off x="76200" y="0"/>
            <a:ext cx="8991600" cy="838200"/>
            <a:chOff x="0" y="0"/>
            <a:chExt cx="9067800" cy="1676400"/>
          </a:xfrm>
        </p:grpSpPr>
        <p:sp>
          <p:nvSpPr>
            <p:cNvPr id="10" name="TextBox 9"/>
            <p:cNvSpPr txBox="1"/>
            <p:nvPr userDrawn="1"/>
          </p:nvSpPr>
          <p:spPr>
            <a:xfrm>
              <a:off x="0" y="47626"/>
              <a:ext cx="9067800" cy="14763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defTabSz="914400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  <a:p>
              <a:pPr defTabSz="914400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  <a:p>
              <a:pPr defTabSz="914400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  <a:p>
              <a:pPr defTabSz="914400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  <a:p>
              <a:pPr defTabSz="914400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1" name="Picture 8" descr="DPS-Leap-Logo-4c.jpg"/>
            <p:cNvPicPr>
              <a:picLocks noChangeAspect="1"/>
            </p:cNvPicPr>
            <p:nvPr userDrawn="1"/>
          </p:nvPicPr>
          <p:blipFill>
            <a:blip r:embed="rId22" cstate="email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66799" cy="1676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6800" y="0"/>
            <a:ext cx="80772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3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1037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0985F4-2F0D-984A-8CF0-A35CB070B721}" type="datetimeFigureOut">
              <a:rPr lang="en-US"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5/1/14</a:t>
            </a:fld>
            <a:endParaRPr lang="en-US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76399" y="6356350"/>
            <a:ext cx="40777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11499" y="6356350"/>
            <a:ext cx="10108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DC9AE-13C5-E24C-A4A4-DB099E25B126}" type="slidenum">
              <a:rPr>
                <a:solidFill>
                  <a:prstClr val="black">
                    <a:tint val="75000"/>
                  </a:prstClr>
                </a:solidFill>
                <a:latin typeface="Arial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8016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slideLayout" Target="../slideLayouts/slideLayout2.xml"/><Relationship Id="rId8" Type="http://schemas.openxmlformats.org/officeDocument/2006/relationships/notesSlide" Target="../notesSlides/notesSlide2.xml"/><Relationship Id="rId9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kendra_wilhelm\Documents\SAVE FILES IN ONLINE DRIVE\Logos\LEAP color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1200" y="1524000"/>
            <a:ext cx="5029200" cy="4315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987040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 and Constru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dirty="0"/>
              <a:t>Survey items were revised with input from teacher focus groups,  discussions with Teaching and Learning and DCTA. </a:t>
            </a:r>
          </a:p>
          <a:p>
            <a:pPr marL="574675" lvl="1" indent="-174625"/>
            <a:r>
              <a:rPr lang="en-US" sz="2000" dirty="0"/>
              <a:t>Revising wording that may be difficult for students to interpret consistently (e.g., “concepts” changed to “ideas</a:t>
            </a:r>
            <a:r>
              <a:rPr lang="en-US" sz="2000" dirty="0" smtClean="0"/>
              <a:t>”)</a:t>
            </a:r>
            <a:endParaRPr lang="en-US" sz="2000" dirty="0"/>
          </a:p>
          <a:p>
            <a:pPr marL="574675" lvl="1" indent="-174625"/>
            <a:r>
              <a:rPr lang="en-US" sz="2000" dirty="0"/>
              <a:t>Revising or removing items that are not applicable to all teaching contexts (e.g., questions specific to homework and writing notes on students’ work)</a:t>
            </a:r>
          </a:p>
          <a:p>
            <a:pPr marL="574675" lvl="1" indent="-174625"/>
            <a:r>
              <a:rPr lang="en-US" sz="2000" dirty="0"/>
              <a:t>One list of items for all grade levels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Our questions align to 3 constructs:</a:t>
            </a:r>
            <a:endParaRPr lang="en-US" sz="2400" dirty="0">
              <a:solidFill>
                <a:srgbClr val="FF0000"/>
              </a:solidFill>
            </a:endParaRPr>
          </a:p>
          <a:p>
            <a:pPr lvl="1" defTabSz="115888">
              <a:buFont typeface="+mj-lt"/>
              <a:buAutoNum type="arabicPeriod"/>
            </a:pPr>
            <a:r>
              <a:rPr lang="en-US" sz="2000" u="sng" dirty="0"/>
              <a:t>Facilitates Learning</a:t>
            </a:r>
            <a:r>
              <a:rPr lang="en-US" sz="2000" dirty="0"/>
              <a:t>: Support and facilitation of student learning.</a:t>
            </a:r>
          </a:p>
          <a:p>
            <a:pPr lvl="1" defTabSz="115888">
              <a:buFont typeface="+mj-lt"/>
              <a:buAutoNum type="arabicPeriod"/>
            </a:pPr>
            <a:r>
              <a:rPr lang="en-US" sz="2000" u="sng" dirty="0"/>
              <a:t>High Expectations of Students</a:t>
            </a:r>
            <a:r>
              <a:rPr lang="en-US" sz="2000" dirty="0"/>
              <a:t>: Expectations for student behavior, including effort (includes both classroom management type items and high expectations for learning)</a:t>
            </a:r>
          </a:p>
          <a:p>
            <a:pPr lvl="1" defTabSz="115888">
              <a:buFont typeface="+mj-lt"/>
              <a:buAutoNum type="arabicPeriod"/>
            </a:pPr>
            <a:r>
              <a:rPr lang="en-US" sz="2000" u="sng" dirty="0"/>
              <a:t>Supports Students</a:t>
            </a:r>
            <a:r>
              <a:rPr lang="en-US" sz="2000" dirty="0"/>
              <a:t>: Teacher-student relationship focused on emotional and psychological suppor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34566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oring and Reporting of Resul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105400"/>
          </a:xfrm>
        </p:spPr>
        <p:txBody>
          <a:bodyPr>
            <a:noAutofit/>
          </a:bodyPr>
          <a:lstStyle/>
          <a:p>
            <a:r>
              <a:rPr lang="en-US" sz="2200" dirty="0" smtClean="0"/>
              <a:t>Teachers and School Leaders access reports online within 6 weeks of administration.</a:t>
            </a:r>
          </a:p>
          <a:p>
            <a:r>
              <a:rPr lang="en-US" sz="2200" dirty="0" smtClean="0"/>
              <a:t>Scoring based on % positive </a:t>
            </a:r>
            <a:r>
              <a:rPr lang="en-US" sz="2000" dirty="0" smtClean="0"/>
              <a:t>(</a:t>
            </a:r>
            <a:r>
              <a:rPr lang="en-US" sz="2000" b="1" i="1" dirty="0" smtClean="0"/>
              <a:t>Most of the Time </a:t>
            </a:r>
            <a:r>
              <a:rPr lang="en-US" sz="2000" dirty="0" smtClean="0"/>
              <a:t>or </a:t>
            </a:r>
            <a:r>
              <a:rPr lang="en-US" sz="2000" b="1" i="1" dirty="0" smtClean="0"/>
              <a:t>Always</a:t>
            </a:r>
            <a:r>
              <a:rPr lang="en-US" sz="2000" dirty="0" smtClean="0"/>
              <a:t> responses) </a:t>
            </a:r>
          </a:p>
          <a:p>
            <a:r>
              <a:rPr lang="en-US" sz="2200" dirty="0" smtClean="0"/>
              <a:t>Grouped into quintiles for reporting as no LEAP ratings are given at the measure level.</a:t>
            </a:r>
          </a:p>
          <a:p>
            <a:r>
              <a:rPr lang="en-US" sz="2200" dirty="0" smtClean="0"/>
              <a:t>Individual teacher data compared to District and School % positive</a:t>
            </a:r>
          </a:p>
          <a:p>
            <a:r>
              <a:rPr lang="en-US" sz="2200" dirty="0" smtClean="0"/>
              <a:t>Data reported at school and teacher level, and disaggregated by:</a:t>
            </a:r>
          </a:p>
          <a:p>
            <a:pPr lvl="1"/>
            <a:r>
              <a:rPr lang="en-US" sz="2200" dirty="0" smtClean="0"/>
              <a:t>Category and Question</a:t>
            </a:r>
          </a:p>
          <a:p>
            <a:pPr lvl="1"/>
            <a:r>
              <a:rPr lang="en-US" sz="2200" dirty="0" smtClean="0"/>
              <a:t>Demographic data (ethnicity, gender, ELA, SPED)</a:t>
            </a:r>
          </a:p>
          <a:p>
            <a:pPr lvl="1"/>
            <a:r>
              <a:rPr lang="en-US" sz="2200" dirty="0" smtClean="0"/>
              <a:t>Response distribution</a:t>
            </a:r>
          </a:p>
          <a:p>
            <a:r>
              <a:rPr lang="en-US" sz="2200" dirty="0" smtClean="0"/>
              <a:t>At the end of the year scores are combined </a:t>
            </a:r>
            <a:r>
              <a:rPr lang="en-US" sz="2200" dirty="0"/>
              <a:t>with other measures to </a:t>
            </a:r>
            <a:r>
              <a:rPr lang="en-US" sz="2200" dirty="0" smtClean="0"/>
              <a:t>give a teacher their summative LEAP rating.</a:t>
            </a:r>
            <a:endParaRPr lang="en-US" sz="2600" dirty="0"/>
          </a:p>
          <a:p>
            <a:pPr lvl="1"/>
            <a:endParaRPr lang="en-US" sz="2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037729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ports, Alignment, and Next Step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5105400"/>
          </a:xfrm>
        </p:spPr>
        <p:txBody>
          <a:bodyPr>
            <a:normAutofit fontScale="85000" lnSpcReduction="20000"/>
          </a:bodyPr>
          <a:lstStyle/>
          <a:p>
            <a:r>
              <a:rPr lang="en-US" sz="2600" dirty="0" smtClean="0"/>
              <a:t>Teachers discuss results with school leaders in mid-year conversations. </a:t>
            </a:r>
          </a:p>
          <a:p>
            <a:r>
              <a:rPr lang="en-US" sz="2600" dirty="0" smtClean="0"/>
              <a:t>Results are a part of a holistic conversation that encompasses all LEAP data to date, including Observation and Professionalism. </a:t>
            </a:r>
          </a:p>
          <a:p>
            <a:r>
              <a:rPr lang="en-US" sz="2600" dirty="0" smtClean="0"/>
              <a:t>Recommendations and guiding questions provided to school leaders, team leaders, and teachers in training materials (how to look at results in the context of other LEAP data).</a:t>
            </a:r>
          </a:p>
          <a:p>
            <a:r>
              <a:rPr lang="en-US" sz="2600" dirty="0" smtClean="0"/>
              <a:t>Data analysis of alignment to other measures is ongoing.</a:t>
            </a:r>
          </a:p>
          <a:p>
            <a:r>
              <a:rPr lang="en-US" sz="2600" dirty="0" smtClean="0"/>
              <a:t>Teachers who received additional Observation support though Differentiated Teacher Leaders saw a 1% average increase in scores over expected, the Teacher Leaders saw a 2% average increase.</a:t>
            </a:r>
          </a:p>
          <a:p>
            <a:r>
              <a:rPr lang="en-US" sz="2600" dirty="0" smtClean="0"/>
              <a:t>Next steps for development:</a:t>
            </a:r>
          </a:p>
          <a:p>
            <a:pPr lvl="1"/>
            <a:r>
              <a:rPr lang="en-US" sz="2200" dirty="0" smtClean="0"/>
              <a:t>Best practice recommendations and materials for involving students more deeply</a:t>
            </a:r>
          </a:p>
          <a:p>
            <a:pPr lvl="1"/>
            <a:r>
              <a:rPr lang="en-US" sz="2200" dirty="0" smtClean="0"/>
              <a:t>Formal Professional Learning materials correlated directly to Student Perception Survey results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2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6282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rvey Alignment with MET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27780"/>
              </p:ext>
            </p:extLst>
          </p:nvPr>
        </p:nvGraphicFramePr>
        <p:xfrm>
          <a:off x="381000" y="1066800"/>
          <a:ext cx="8229600" cy="53695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ET</a:t>
                      </a:r>
                      <a:r>
                        <a:rPr lang="en-US" baseline="0" dirty="0" smtClean="0"/>
                        <a:t> Recommendation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PS LEAP System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easure</a:t>
                      </a:r>
                      <a:r>
                        <a:rPr lang="en-US" sz="1600" baseline="0" dirty="0" smtClean="0"/>
                        <a:t> what matters: Questions focus on what teachers do, and on the learning environment they creat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visions</a:t>
                      </a:r>
                      <a:r>
                        <a:rPr lang="en-US" sz="1600" baseline="0" dirty="0" smtClean="0"/>
                        <a:t> on questions based on results, extensive feedback, external review, and statistical analysis  to ensure questions are relevant and appropriate.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nsure accuracy: Student</a:t>
                      </a:r>
                      <a:r>
                        <a:rPr lang="en-US" sz="1600" baseline="0" dirty="0" smtClean="0"/>
                        <a:t> r</a:t>
                      </a:r>
                      <a:r>
                        <a:rPr lang="en-US" sz="1600" dirty="0" smtClean="0"/>
                        <a:t>esponses should</a:t>
                      </a:r>
                      <a:r>
                        <a:rPr lang="en-US" sz="1600" baseline="0" dirty="0" smtClean="0"/>
                        <a:t> be honest and based on clear understanding of questions. Confidentiality is a must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ntinued examination</a:t>
                      </a:r>
                      <a:r>
                        <a:rPr lang="en-US" sz="1600" baseline="0" dirty="0" smtClean="0"/>
                        <a:t> of administration protocols. Administration based on state testing protocols for confidentiality and recommend teacher does not administer.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Ensure reliability: Reliability </a:t>
                      </a:r>
                      <a:r>
                        <a:rPr lang="en-US" sz="1600" baseline="0" dirty="0" smtClean="0"/>
                        <a:t>requires adequate sampling and number of items so teachers have confidence that surveys can produce reasonably consistent results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e found no statistical difference in 2 administrations a year</a:t>
                      </a:r>
                      <a:r>
                        <a:rPr lang="en-US" sz="1600" baseline="0" dirty="0" smtClean="0"/>
                        <a:t> and reduced to one administration and one make-up administration to reduce impact on instructional time. Added a second optional  administration class period for teachers.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upport improvement: Teachers should</a:t>
                      </a:r>
                      <a:r>
                        <a:rPr lang="en-US" sz="1600" baseline="0" dirty="0" smtClean="0"/>
                        <a:t> receive results in a timely manner, understand what they mean, and have access to PD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eachers and school leaders have access to results online</a:t>
                      </a:r>
                      <a:r>
                        <a:rPr lang="en-US" sz="1600" baseline="0" dirty="0" smtClean="0"/>
                        <a:t>  approximately a month after administration during mid-year conversations. We are still working on supports for improvement.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19400" y="6400800"/>
            <a:ext cx="60198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050" i="1" dirty="0">
                <a:solidFill>
                  <a:prstClr val="black"/>
                </a:solidFill>
                <a:latin typeface="Calibri"/>
              </a:rPr>
              <a:t>Source: Asking Students about Teaching: Student Perception Surveys and their Implementation (2012)</a:t>
            </a:r>
            <a:endParaRPr lang="en-US" sz="1050" i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3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9310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5807" y="5146555"/>
            <a:ext cx="8613058" cy="492245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Engaging Students in the Educator Effectiveness Conversation: </a:t>
            </a:r>
            <a:r>
              <a:rPr lang="en-US" sz="2200" dirty="0" smtClean="0"/>
              <a:t/>
            </a:r>
            <a:br>
              <a:rPr lang="en-US" sz="2200" dirty="0" smtClean="0"/>
            </a:br>
            <a:r>
              <a:rPr lang="en-US" sz="2000" dirty="0" smtClean="0"/>
              <a:t>Building </a:t>
            </a:r>
            <a:r>
              <a:rPr lang="en-US" sz="2000" dirty="0"/>
              <a:t>a Robust Student Perception Surve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6086168"/>
            <a:ext cx="6400800" cy="245806"/>
          </a:xfrm>
        </p:spPr>
        <p:txBody>
          <a:bodyPr>
            <a:noAutofit/>
          </a:bodyPr>
          <a:lstStyle/>
          <a:p>
            <a:r>
              <a:rPr lang="en-US" sz="1800" dirty="0" smtClean="0"/>
              <a:t>May 1, 2014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004059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 smtClean="0"/>
              <a:t>OVERVIEW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800" dirty="0" smtClean="0"/>
              <a:t>Why use a Student Perception Survey?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800" dirty="0" smtClean="0"/>
              <a:t>What the Research Says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800" dirty="0"/>
              <a:t>Survey Overview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800" dirty="0" smtClean="0"/>
              <a:t>Survey Development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800" dirty="0" smtClean="0"/>
              <a:t>Pilot Results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800" dirty="0"/>
              <a:t>Survey </a:t>
            </a:r>
            <a:r>
              <a:rPr lang="en-US" sz="2800" dirty="0" smtClean="0"/>
              <a:t>Administration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800" dirty="0" smtClean="0"/>
              <a:t>Use of Survey Resul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uilding a Robust Student Perception Survey</a:t>
            </a:r>
          </a:p>
        </p:txBody>
      </p:sp>
    </p:spTree>
    <p:extLst>
      <p:ext uri="{BB962C8B-B14F-4D97-AF65-F5344CB8AC3E}">
        <p14:creationId xmlns:p14="http://schemas.microsoft.com/office/powerpoint/2010/main" val="9005867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/>
          <p:cNvSpPr/>
          <p:nvPr/>
        </p:nvSpPr>
        <p:spPr>
          <a:xfrm>
            <a:off x="6096000" y="1143000"/>
            <a:ext cx="3048000" cy="762000"/>
          </a:xfrm>
          <a:prstGeom prst="rightArrow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2013-14</a:t>
            </a:r>
            <a:endParaRPr lang="en-US" sz="2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3886200" y="1143000"/>
            <a:ext cx="3048000" cy="762000"/>
          </a:xfrm>
          <a:prstGeom prst="rightArrow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2012-13</a:t>
            </a:r>
            <a:endParaRPr lang="en-US" sz="2400" b="1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ight Arrow 6"/>
          <p:cNvSpPr/>
          <p:nvPr/>
        </p:nvSpPr>
        <p:spPr>
          <a:xfrm>
            <a:off x="2209800" y="1143000"/>
            <a:ext cx="2286000" cy="762000"/>
          </a:xfrm>
          <a:prstGeom prst="rightArrow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2011-12</a:t>
            </a:r>
            <a:endParaRPr lang="en-US" sz="2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04800" y="1828800"/>
            <a:ext cx="1905000" cy="4572000"/>
          </a:xfrm>
          <a:prstGeom prst="roundRect">
            <a:avLst>
              <a:gd name="adj" fmla="val 15523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iloted evaluation components and process at 16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school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Developed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DPS definition of teacher effectivenes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Engaged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rincipals and teachers in system design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Build organizational capacity through principal professional development and Teacher Leader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Academie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First student survey</a:t>
            </a: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i="1" dirty="0">
                <a:solidFill>
                  <a:prstClr val="black"/>
                </a:solidFill>
                <a:latin typeface="Calibri" pitchFamily="34" charset="0"/>
              </a:rPr>
              <a:t>(SB 10-191 passed)</a:t>
            </a:r>
            <a:endParaRPr lang="en-US" sz="1400" i="1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228600" indent="-228600" defTabSz="914400">
              <a:buFont typeface="Arial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304800" y="1143000"/>
            <a:ext cx="2133600" cy="762000"/>
          </a:xfrm>
          <a:prstGeom prst="rightArrow">
            <a:avLst/>
          </a:prstGeom>
          <a:solidFill>
            <a:srgbClr val="CCFF9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2010 - 11</a:t>
            </a:r>
            <a:endParaRPr lang="en-US" sz="2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57" name="AutoShap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62200" y="1828800"/>
            <a:ext cx="1981200" cy="4572000"/>
          </a:xfrm>
          <a:prstGeom prst="roundRect">
            <a:avLst>
              <a:gd name="adj" fmla="val 15523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iloted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LEAP in 94% of DPS school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eer Observer team formed &amp; performs additional teacher observations.</a:t>
            </a: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Refined system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based on MET research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finding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Aligned PD resources to Framework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iloted Student Perception Surveys</a:t>
            </a: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6" name="AutoShap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19600" y="1828800"/>
            <a:ext cx="2133600" cy="4572000"/>
          </a:xfrm>
          <a:prstGeom prst="roundRect">
            <a:avLst>
              <a:gd name="adj" fmla="val 15523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LEAP at 100%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school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Revised Observation Framework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from 21 to 12 Indicator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Teachers received indicator level results for all three Domains of the Framework (Instruction, Learning Environment, Professionalism)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Re-aligned PD resources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to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Framework and added Closer Look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rofessionalism scores received for first time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228600" indent="-228600" defTabSz="914400">
              <a:buFont typeface="Arial" pitchFamily="34" charset="0"/>
              <a:buChar char="•"/>
            </a:pPr>
            <a:endParaRPr lang="en-US" sz="160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8" name="AutoShap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629400" y="1828800"/>
            <a:ext cx="2133600" cy="4572000"/>
          </a:xfrm>
          <a:prstGeom prst="roundRect">
            <a:avLst>
              <a:gd name="adj" fmla="val 15523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LEAP at 100%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school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All LEAP Observers calibrated &amp; certified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Final LEAP rating given &amp; reported to state using matrix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Revised Professionalism framework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Differentiated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TL roles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to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support LEAP </a:t>
            </a: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&amp; support structures at 14 schools</a:t>
            </a: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iloting SLOs at 15 schools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Piloting Specialized Service Provider Evaluation system</a:t>
            </a:r>
          </a:p>
          <a:p>
            <a:pPr marL="114300" indent="-114300" defTabSz="914400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Calibri" pitchFamily="34" charset="0"/>
              </a:rPr>
              <a:t>Work continues on differentiated PD.</a:t>
            </a:r>
            <a:endParaRPr lang="en-US" sz="140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We’ve Been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40475"/>
            <a:ext cx="2133600" cy="365125"/>
          </a:xfrm>
        </p:spPr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72636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Helvetica" pitchFamily="34" charset="0"/>
                <a:cs typeface="Helvetica" pitchFamily="34" charset="0"/>
              </a:rPr>
              <a:t>LEAP Components</a:t>
            </a:r>
            <a:endParaRPr lang="en-GB" sz="3600" i="1" dirty="0" smtClean="0"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3074" name="Picture 2" descr="image0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1066800"/>
            <a:ext cx="7543800" cy="5421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0" y="1676400"/>
            <a:ext cx="2667000" cy="1905000"/>
          </a:xfrm>
        </p:spPr>
        <p:txBody>
          <a:bodyPr>
            <a:normAutofit/>
          </a:bodyPr>
          <a:lstStyle/>
          <a:p>
            <a:r>
              <a:rPr lang="en-US" sz="1600" dirty="0" smtClean="0"/>
              <a:t>Final scores for each side calculated based on formulas.</a:t>
            </a:r>
          </a:p>
          <a:p>
            <a:endParaRPr lang="en-US" sz="1600" dirty="0" smtClean="0"/>
          </a:p>
          <a:p>
            <a:r>
              <a:rPr lang="en-US" sz="1600" dirty="0" smtClean="0"/>
              <a:t>Matrix approach used to combine sides into a final rating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5183500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ET Guiding Principles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1317292"/>
              </p:ext>
            </p:extLst>
          </p:nvPr>
        </p:nvGraphicFramePr>
        <p:xfrm>
          <a:off x="609600" y="990601"/>
          <a:ext cx="8077200" cy="35051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31DDB062-4348-4C0B-9BCE-21B7AA6AD208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5800" y="4547597"/>
            <a:ext cx="7842662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Developed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The Framework for Effective Teaching as the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basis of our shared definition of effective teaching</a:t>
            </a:r>
          </a:p>
          <a:p>
            <a:pPr marL="285750" indent="-285750" defTabSz="914400"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Multiple measures at balanced weights for each component of the system</a:t>
            </a:r>
          </a:p>
          <a:p>
            <a:pPr marL="285750" indent="-285750" defTabSz="914400"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More than one observer to increase reliability</a:t>
            </a:r>
          </a:p>
          <a:p>
            <a:pPr marL="285750" indent="-285750" defTabSz="914400"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Systems developed to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ensure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rosters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are accurate and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properly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attributed to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teachers</a:t>
            </a:r>
          </a:p>
          <a:p>
            <a:pPr marL="285750" indent="-285750" defTabSz="914400"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Observer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training and certification process</a:t>
            </a:r>
          </a:p>
          <a:p>
            <a:pPr marL="285750" indent="-285750" defTabSz="914400"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Using multiple (three) years of data on student achievement gains</a:t>
            </a:r>
          </a:p>
          <a:p>
            <a:pPr marL="285750" indent="-285750" defTabSz="914400"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Master coded videos modeled after the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MET Master 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Coding Boot Camp</a:t>
            </a:r>
          </a:p>
          <a:p>
            <a:pPr defTabSz="914400"/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87577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edback Structur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7DF523D-55EE-43CD-BFFD-A65AAB296AC8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5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106558730"/>
              </p:ext>
            </p:extLst>
          </p:nvPr>
        </p:nvGraphicFramePr>
        <p:xfrm>
          <a:off x="1752600" y="1676400"/>
          <a:ext cx="54102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52400" y="3276600"/>
            <a:ext cx="175260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The team responds to feedback and shares changes to system through newsletters and the LEAP website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2400" y="4615317"/>
            <a:ext cx="198120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Collaborative and iterative program design with changes based on feedback and data analysis through multiple years of design.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66800" y="6034936"/>
            <a:ext cx="22098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Operations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team responds to all feedback from the website, or via e-mail or hotline,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within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24 hours</a:t>
            </a:r>
          </a:p>
        </p:txBody>
      </p:sp>
      <p:sp>
        <p:nvSpPr>
          <p:cNvPr id="3" name="Rectangle 2"/>
          <p:cNvSpPr/>
          <p:nvPr/>
        </p:nvSpPr>
        <p:spPr>
          <a:xfrm>
            <a:off x="228600" y="1632337"/>
            <a:ext cx="24384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Two DCTA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liaisons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are part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of the DPS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project team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Our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DCTA Teacher Outreach Manager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visits schools to collect feedback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and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share information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throughout the district in a variety of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venue.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22812" y="1073512"/>
            <a:ext cx="317798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DCTA on LEAP Steering Committee, Student Outcomes Working Group, SLO team and working groups, and SSP Evaluation pilot representation.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248400" y="1909971"/>
            <a:ext cx="20574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42 school leaders and teachers on 5 design teams selected through an application process meet regularly to provide feedback and inform design.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073153" y="3278304"/>
            <a:ext cx="2057400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23 separate focus groups launched the design phase. </a:t>
            </a:r>
          </a:p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We continue to hold focus groups across the district as needed to collect feedback.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781800" y="4678560"/>
            <a:ext cx="220980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LEAP team members attend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faculty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meetings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at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schools across the district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with Tom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 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Boasberg (Superintendent)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 and Susana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Cordova (CAO). </a:t>
            </a:r>
          </a:p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Faculty 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meetings are a two-way dialogue to talk with our educators, collect feedback on district priorities and answer questions</a:t>
            </a:r>
            <a:r>
              <a:rPr lang="en-US" sz="1050" dirty="0">
                <a:solidFill>
                  <a:prstClr val="black"/>
                </a:solidFill>
                <a:latin typeface="Calibri"/>
              </a:rPr>
              <a:t>.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666129" y="6253339"/>
            <a:ext cx="20574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914400">
              <a:buFont typeface="Wingdings" pitchFamily="2" charset="2"/>
              <a:buChar char="ü"/>
            </a:pPr>
            <a:r>
              <a:rPr lang="en-US" sz="1050" dirty="0">
                <a:solidFill>
                  <a:prstClr val="black"/>
                </a:solidFill>
                <a:latin typeface="Calibri"/>
              </a:rPr>
              <a:t>Teacher Leaders across the district meet monthly.</a:t>
            </a:r>
            <a:endParaRPr lang="en-US" sz="105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266545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mplementation and Suppo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idx="1"/>
          </p:nvPr>
        </p:nvSpPr>
        <p:spPr>
          <a:xfrm>
            <a:off x="381000" y="914400"/>
            <a:ext cx="8229600" cy="55626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 smtClean="0"/>
              <a:t>Alignment </a:t>
            </a:r>
            <a:r>
              <a:rPr lang="en-US" sz="1800" b="1" dirty="0"/>
              <a:t>of Professional Learning </a:t>
            </a:r>
            <a:r>
              <a:rPr lang="en-US" sz="1800" b="1" dirty="0" smtClean="0"/>
              <a:t>resources to LEAP</a:t>
            </a:r>
            <a:endParaRPr lang="en-US" sz="1800" b="1" dirty="0"/>
          </a:p>
          <a:p>
            <a:r>
              <a:rPr lang="en-US" sz="1800" dirty="0"/>
              <a:t>Professional Learning aligned to Framework indicators, ongoing work to differentiate learning to teacher effectiveness </a:t>
            </a:r>
            <a:r>
              <a:rPr lang="en-US" sz="1800" dirty="0" smtClean="0"/>
              <a:t>levels (PD aligned to indicators)</a:t>
            </a:r>
            <a:endParaRPr lang="en-US" sz="1800" dirty="0"/>
          </a:p>
          <a:p>
            <a:r>
              <a:rPr lang="en-US" sz="1800" dirty="0" smtClean="0"/>
              <a:t>School building </a:t>
            </a:r>
            <a:r>
              <a:rPr lang="en-US" sz="1800" dirty="0"/>
              <a:t>leaders </a:t>
            </a:r>
            <a:r>
              <a:rPr lang="en-US" sz="1800" dirty="0" smtClean="0"/>
              <a:t>and teachers select indicators </a:t>
            </a:r>
            <a:r>
              <a:rPr lang="en-US" sz="1800" dirty="0"/>
              <a:t>for focused Professional </a:t>
            </a:r>
            <a:r>
              <a:rPr lang="en-US" sz="1800" dirty="0" smtClean="0"/>
              <a:t>Learning at a building and individual level (Professional Growth Plans)</a:t>
            </a:r>
            <a:endParaRPr lang="en-US" sz="1800" dirty="0"/>
          </a:p>
          <a:p>
            <a:r>
              <a:rPr lang="en-US" sz="1800" dirty="0"/>
              <a:t>Structured </a:t>
            </a:r>
            <a:r>
              <a:rPr lang="en-US" sz="1800" dirty="0" smtClean="0"/>
              <a:t>observation feedback </a:t>
            </a:r>
            <a:r>
              <a:rPr lang="en-US" sz="1800" dirty="0"/>
              <a:t>conversations </a:t>
            </a:r>
            <a:r>
              <a:rPr lang="en-US" sz="1800" dirty="0" smtClean="0"/>
              <a:t>with next steps for growth.</a:t>
            </a:r>
          </a:p>
          <a:p>
            <a:r>
              <a:rPr lang="en-US" sz="1800" dirty="0" smtClean="0"/>
              <a:t>Partial and walkthrough observations allow for more frequent observations on targeted indicators.</a:t>
            </a:r>
          </a:p>
          <a:p>
            <a:r>
              <a:rPr lang="en-US" sz="1800" dirty="0" smtClean="0"/>
              <a:t>Professionalism (offstage) is discussed in mid-year conversations with opportunity to grow and improve prior to final ratings at end of year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/>
              <a:t>Using </a:t>
            </a:r>
            <a:r>
              <a:rPr lang="en-US" sz="1800" b="1" dirty="0" smtClean="0"/>
              <a:t>LEAP data </a:t>
            </a:r>
            <a:r>
              <a:rPr lang="en-US" sz="1800" b="1" dirty="0"/>
              <a:t>to inform entire teacher </a:t>
            </a:r>
            <a:r>
              <a:rPr lang="en-US" sz="1800" b="1" dirty="0" smtClean="0"/>
              <a:t>lifecycle </a:t>
            </a:r>
          </a:p>
          <a:p>
            <a:r>
              <a:rPr lang="en-US" sz="1800" dirty="0" smtClean="0"/>
              <a:t>Use to evaluate pipelines, inform screenings and predict effective teachers</a:t>
            </a:r>
          </a:p>
          <a:p>
            <a:r>
              <a:rPr lang="en-US" sz="1800" dirty="0" smtClean="0"/>
              <a:t>Inform new teacher induction, mentoring, professional learning</a:t>
            </a:r>
          </a:p>
          <a:p>
            <a:r>
              <a:rPr lang="en-US" sz="1800" dirty="0" smtClean="0"/>
              <a:t>Support teachers to become effective through feedback and aligned support</a:t>
            </a:r>
          </a:p>
          <a:p>
            <a:r>
              <a:rPr lang="en-US" sz="1800" dirty="0" smtClean="0"/>
              <a:t>Career lattices and teacher leadership</a:t>
            </a:r>
          </a:p>
          <a:p>
            <a:r>
              <a:rPr lang="en-US" sz="1800" dirty="0" smtClean="0"/>
              <a:t>Identification of teachers for remediation plans</a:t>
            </a:r>
            <a:endParaRPr lang="en-US" sz="105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7DF523D-55EE-43CD-BFFD-A65AAB296AC8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6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86426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udent Perception Survey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090691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volution of Student Perception </a:t>
            </a:r>
            <a:r>
              <a:rPr lang="en-US" dirty="0" smtClean="0"/>
              <a:t>at </a:t>
            </a:r>
            <a:r>
              <a:rPr lang="en-US" dirty="0"/>
              <a:t>DP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9679937"/>
              </p:ext>
            </p:extLst>
          </p:nvPr>
        </p:nvGraphicFramePr>
        <p:xfrm>
          <a:off x="457200" y="990600"/>
          <a:ext cx="82296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10-Point Star 6"/>
          <p:cNvSpPr/>
          <p:nvPr/>
        </p:nvSpPr>
        <p:spPr>
          <a:xfrm>
            <a:off x="4800600" y="5257800"/>
            <a:ext cx="1713509" cy="997527"/>
          </a:xfrm>
          <a:prstGeom prst="star10">
            <a:avLst/>
          </a:prstGeom>
          <a:solidFill>
            <a:srgbClr val="FFFFD9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 defTabSz="914400"/>
            <a:r>
              <a:rPr lang="en-US" sz="1200" b="1" dirty="0">
                <a:solidFill>
                  <a:prstClr val="black"/>
                </a:solidFill>
                <a:latin typeface="Calibri"/>
              </a:rPr>
              <a:t>Reduced burden on students, teachers &amp; staff</a:t>
            </a:r>
          </a:p>
        </p:txBody>
      </p:sp>
      <p:sp>
        <p:nvSpPr>
          <p:cNvPr id="6" name="10-Point Star 5"/>
          <p:cNvSpPr/>
          <p:nvPr/>
        </p:nvSpPr>
        <p:spPr>
          <a:xfrm>
            <a:off x="6858000" y="5555673"/>
            <a:ext cx="1667435" cy="997527"/>
          </a:xfrm>
          <a:prstGeom prst="star10">
            <a:avLst/>
          </a:prstGeom>
          <a:solidFill>
            <a:srgbClr val="FFFFD9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1200" b="1" dirty="0">
                <a:solidFill>
                  <a:prstClr val="black"/>
                </a:solidFill>
                <a:latin typeface="Calibri"/>
              </a:rPr>
              <a:t>Increased flexibility for teachers and schools</a:t>
            </a:r>
            <a:endParaRPr lang="en-US" sz="12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FDC01-3FB5-476D-B26F-ECB03C61822A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8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67526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2013-14 Revisions to Survey Administration</a:t>
            </a:r>
            <a:endParaRPr lang="en-US" sz="320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9308174"/>
              </p:ext>
            </p:extLst>
          </p:nvPr>
        </p:nvGraphicFramePr>
        <p:xfrm>
          <a:off x="457200" y="1066800"/>
          <a:ext cx="8229600" cy="53314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57400"/>
                <a:gridCol w="2057400"/>
                <a:gridCol w="2057400"/>
                <a:gridCol w="2057400"/>
              </a:tblGrid>
              <a:tr h="370840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88969" marR="8896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012-13</a:t>
                      </a:r>
                      <a:endParaRPr lang="en-US" sz="1800" dirty="0"/>
                    </a:p>
                  </a:txBody>
                  <a:tcPr marL="88969" marR="8896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Revised (2013-14)</a:t>
                      </a:r>
                      <a:endParaRPr lang="en-US" sz="1800" dirty="0"/>
                    </a:p>
                  </a:txBody>
                  <a:tcPr marL="88969" marR="8896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Rationale</a:t>
                      </a:r>
                      <a:endParaRPr lang="en-US" sz="1800" dirty="0"/>
                    </a:p>
                  </a:txBody>
                  <a:tcPr marL="88969" marR="88969"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urvey administration </a:t>
                      </a:r>
                    </a:p>
                    <a:p>
                      <a:pPr algn="ctr"/>
                      <a:r>
                        <a:rPr lang="en-US" sz="1400" dirty="0" smtClean="0"/>
                        <a:t>window</a:t>
                      </a:r>
                      <a:endParaRPr lang="en-US" sz="1400" i="1" dirty="0"/>
                    </a:p>
                  </a:txBody>
                  <a:tcPr marL="88969" marR="88969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ov 13 – Nov 30</a:t>
                      </a:r>
                    </a:p>
                    <a:p>
                      <a:r>
                        <a:rPr lang="en-US" sz="1400" dirty="0" smtClean="0"/>
                        <a:t>3 weeks</a:t>
                      </a:r>
                    </a:p>
                  </a:txBody>
                  <a:tcPr marL="88969" marR="88969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Oct</a:t>
                      </a:r>
                      <a:r>
                        <a:rPr lang="en-US" sz="1400" baseline="0" dirty="0" smtClean="0"/>
                        <a:t> 23 – Nov 22</a:t>
                      </a:r>
                    </a:p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baseline="0" dirty="0" smtClean="0"/>
                        <a:t>(4 weeks)</a:t>
                      </a:r>
                    </a:p>
                    <a:p>
                      <a:r>
                        <a:rPr lang="en-US" sz="1400" baseline="0" dirty="0" smtClean="0"/>
                        <a:t>Makeup window:</a:t>
                      </a:r>
                    </a:p>
                    <a:p>
                      <a:r>
                        <a:rPr lang="en-US" sz="1400" baseline="0" dirty="0" smtClean="0"/>
                        <a:t>Feb 10 – Feb 28</a:t>
                      </a:r>
                    </a:p>
                    <a:p>
                      <a:r>
                        <a:rPr lang="en-US" sz="1400" baseline="0" dirty="0" smtClean="0"/>
                        <a:t>(3 weeks)</a:t>
                      </a:r>
                      <a:endParaRPr lang="en-US" sz="1400" dirty="0" smtClean="0"/>
                    </a:p>
                  </a:txBody>
                  <a:tcPr marL="88969" marR="88969"/>
                </a:tc>
                <a:tc rowSpan="2"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dirty="0" smtClean="0"/>
                        <a:t>Allows schools more flexibility in administering surveys for</a:t>
                      </a:r>
                      <a:r>
                        <a:rPr lang="en-US" sz="1400" baseline="0" dirty="0" smtClean="0"/>
                        <a:t> all teachers</a:t>
                      </a:r>
                    </a:p>
                    <a:p>
                      <a:r>
                        <a:rPr lang="en-US" sz="1400" baseline="0" dirty="0" smtClean="0"/>
                        <a:t>Accommodates variety of scheduling practices and circumstances</a:t>
                      </a:r>
                      <a:endParaRPr lang="en-US" sz="1400" dirty="0" smtClean="0"/>
                    </a:p>
                  </a:txBody>
                  <a:tcPr marL="88969" marR="88969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ays for schools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to administer</a:t>
                      </a:r>
                      <a:endParaRPr lang="en-US" sz="1400" i="1" dirty="0" smtClean="0"/>
                    </a:p>
                  </a:txBody>
                  <a:tcPr marL="88969" marR="88969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-3 consecutive days within window</a:t>
                      </a:r>
                    </a:p>
                  </a:txBody>
                  <a:tcPr marL="88969" marR="88969"/>
                </a:tc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dirty="0" smtClean="0"/>
                        <a:t>As many days as</a:t>
                      </a:r>
                      <a:r>
                        <a:rPr lang="en-US" sz="1400" baseline="0" dirty="0" smtClean="0"/>
                        <a:t> needed within window</a:t>
                      </a:r>
                    </a:p>
                    <a:p>
                      <a:r>
                        <a:rPr lang="en-US" sz="1400" baseline="0" dirty="0" smtClean="0"/>
                        <a:t>Days do not need to be consecutive</a:t>
                      </a:r>
                      <a:endParaRPr lang="en-US" sz="1400" dirty="0" smtClean="0"/>
                    </a:p>
                  </a:txBody>
                  <a:tcPr marL="88969" marR="88969"/>
                </a:tc>
                <a:tc vMerge="1">
                  <a:txBody>
                    <a:bodyPr/>
                    <a:lstStyle/>
                    <a:p>
                      <a:endParaRPr lang="en-US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Classes surveyed</a:t>
                      </a:r>
                      <a:endParaRPr lang="en-US" sz="1400" i="1" dirty="0" smtClean="0"/>
                    </a:p>
                  </a:txBody>
                  <a:tcPr marL="88969" marR="88969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dirty="0" smtClean="0"/>
                        <a:t>Elementary – homeroom</a:t>
                      </a:r>
                    </a:p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dirty="0" smtClean="0"/>
                        <a:t>Elem/Middle Specials – 1</a:t>
                      </a:r>
                      <a:r>
                        <a:rPr lang="en-US" sz="1400" baseline="30000" dirty="0" smtClean="0"/>
                        <a:t>st</a:t>
                      </a:r>
                      <a:r>
                        <a:rPr lang="en-US" sz="1400" dirty="0" smtClean="0"/>
                        <a:t> class on administration</a:t>
                      </a:r>
                      <a:r>
                        <a:rPr lang="en-US" sz="1400" baseline="0" dirty="0" smtClean="0"/>
                        <a:t> days</a:t>
                      </a:r>
                    </a:p>
                    <a:p>
                      <a:r>
                        <a:rPr lang="en-US" sz="1400" baseline="0" dirty="0" smtClean="0"/>
                        <a:t>Secondary – 2</a:t>
                      </a:r>
                      <a:r>
                        <a:rPr lang="en-US" sz="1400" baseline="30000" dirty="0" smtClean="0"/>
                        <a:t>nd</a:t>
                      </a:r>
                      <a:r>
                        <a:rPr lang="en-US" sz="1400" baseline="0" dirty="0" smtClean="0"/>
                        <a:t> period</a:t>
                      </a:r>
                      <a:endParaRPr lang="en-US" sz="1400" dirty="0" smtClean="0"/>
                    </a:p>
                  </a:txBody>
                  <a:tcPr marL="88969" marR="88969"/>
                </a:tc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dirty="0" smtClean="0"/>
                        <a:t>Same,</a:t>
                      </a:r>
                      <a:r>
                        <a:rPr lang="en-US" sz="1400" baseline="0" dirty="0" smtClean="0"/>
                        <a:t> but:</a:t>
                      </a:r>
                    </a:p>
                    <a:p>
                      <a:r>
                        <a:rPr lang="en-US" sz="1400" baseline="0" dirty="0" smtClean="0"/>
                        <a:t>Specials and secondary teachers have option to administer survey to 1 additional class</a:t>
                      </a:r>
                      <a:endParaRPr lang="en-US" sz="1400" dirty="0" smtClean="0"/>
                    </a:p>
                  </a:txBody>
                  <a:tcPr marL="88969" marR="88969"/>
                </a:tc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dirty="0" smtClean="0"/>
                        <a:t>Provides specials and secondary teacher with larger proportion of total</a:t>
                      </a:r>
                      <a:r>
                        <a:rPr lang="en-US" sz="1400" baseline="0" dirty="0" smtClean="0"/>
                        <a:t> students to survey</a:t>
                      </a:r>
                    </a:p>
                    <a:p>
                      <a:r>
                        <a:rPr lang="en-US" sz="1400" baseline="0" dirty="0" smtClean="0"/>
                        <a:t>(elementary teachers survey all students)</a:t>
                      </a:r>
                      <a:endParaRPr lang="en-US" sz="1400" dirty="0" smtClean="0"/>
                    </a:p>
                  </a:txBody>
                  <a:tcPr marL="88969" marR="88969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Proctoring</a:t>
                      </a:r>
                      <a:endParaRPr lang="en-US" sz="1400" i="1" dirty="0" smtClean="0"/>
                    </a:p>
                  </a:txBody>
                  <a:tcPr marL="88969" marR="88969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eachers may administer to their own classes</a:t>
                      </a:r>
                    </a:p>
                  </a:txBody>
                  <a:tcPr marL="88969" marR="88969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commend</a:t>
                      </a:r>
                      <a:r>
                        <a:rPr lang="en-US" sz="1400" baseline="0" dirty="0" smtClean="0"/>
                        <a:t> that s</a:t>
                      </a:r>
                      <a:r>
                        <a:rPr lang="en-US" sz="1400" dirty="0" smtClean="0"/>
                        <a:t>omeone other than teacher administers:</a:t>
                      </a:r>
                    </a:p>
                    <a:p>
                      <a:r>
                        <a:rPr lang="en-US" sz="1400" dirty="0" smtClean="0"/>
                        <a:t>e.g., other teachers, administrators, </a:t>
                      </a:r>
                      <a:r>
                        <a:rPr lang="en-US" sz="1400" dirty="0" err="1" smtClean="0"/>
                        <a:t>paras</a:t>
                      </a:r>
                      <a:r>
                        <a:rPr lang="en-US" sz="1400" dirty="0" smtClean="0"/>
                        <a:t>, students (high schools)</a:t>
                      </a:r>
                    </a:p>
                  </a:txBody>
                  <a:tcPr marL="88969" marR="88969"/>
                </a:tc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400" dirty="0" smtClean="0"/>
                        <a:t>Reduces inconsistencies in administration</a:t>
                      </a:r>
                    </a:p>
                    <a:p>
                      <a:r>
                        <a:rPr lang="en-US" sz="1400" dirty="0" smtClean="0"/>
                        <a:t>Avoids potential bias in</a:t>
                      </a:r>
                      <a:r>
                        <a:rPr lang="en-US" sz="1400" baseline="0" dirty="0" smtClean="0"/>
                        <a:t> student responses</a:t>
                      </a:r>
                      <a:endParaRPr lang="en-US" sz="1400" dirty="0" smtClean="0"/>
                    </a:p>
                  </a:txBody>
                  <a:tcPr marL="88969" marR="88969"/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EFD33B-B760-4DB6-BE2A-17E0CEB192A4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55597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6kdr00NXrkuJ8rzmGpVT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6kdr00NXrkuJ8rzmGpVT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6kdr00NXrkuJ8rzmGpVT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6kdr00NXrkuJ8rzmGpVTLA"/>
</p:tagLst>
</file>

<file path=ppt/theme/theme1.xml><?xml version="1.0" encoding="utf-8"?>
<a:theme xmlns:a="http://schemas.openxmlformats.org/drawingml/2006/main" name="3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8_Office Theme">
  <a:themeElements>
    <a:clrScheme name="CEI">
      <a:dk1>
        <a:sysClr val="windowText" lastClr="000000"/>
      </a:dk1>
      <a:lt1>
        <a:sysClr val="window" lastClr="FFFFFF"/>
      </a:lt1>
      <a:dk2>
        <a:srgbClr val="505050"/>
      </a:dk2>
      <a:lt2>
        <a:srgbClr val="EEECE1"/>
      </a:lt2>
      <a:accent1>
        <a:srgbClr val="80778E"/>
      </a:accent1>
      <a:accent2>
        <a:srgbClr val="7D9050"/>
      </a:accent2>
      <a:accent3>
        <a:srgbClr val="ECB320"/>
      </a:accent3>
      <a:accent4>
        <a:srgbClr val="A16220"/>
      </a:accent4>
      <a:accent5>
        <a:srgbClr val="646464"/>
      </a:accent5>
      <a:accent6>
        <a:srgbClr val="7F7F7F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97</Words>
  <Application>Microsoft Macintosh PowerPoint</Application>
  <PresentationFormat>On-screen Show (4:3)</PresentationFormat>
  <Paragraphs>231</Paragraphs>
  <Slides>15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37_Office Theme</vt:lpstr>
      <vt:lpstr>38_Office Theme</vt:lpstr>
      <vt:lpstr>think-cell Slide</vt:lpstr>
      <vt:lpstr>PowerPoint Presentation</vt:lpstr>
      <vt:lpstr>Where We’ve Been</vt:lpstr>
      <vt:lpstr>LEAP Components</vt:lpstr>
      <vt:lpstr>MET Guiding Principles</vt:lpstr>
      <vt:lpstr>Feedback Structures</vt:lpstr>
      <vt:lpstr>Implementation and Support</vt:lpstr>
      <vt:lpstr>Student Perception Survey</vt:lpstr>
      <vt:lpstr>Evolution of Student Perception at DPS</vt:lpstr>
      <vt:lpstr>2013-14 Revisions to Survey Administration</vt:lpstr>
      <vt:lpstr>Questions and Constructs</vt:lpstr>
      <vt:lpstr>Scoring and Reporting of Results</vt:lpstr>
      <vt:lpstr>Supports, Alignment, and Next Steps</vt:lpstr>
      <vt:lpstr>Survey Alignment with MET</vt:lpstr>
      <vt:lpstr>Engaging Students in the Educator Effectiveness Conversation:  Building a Robust Student Perception Survey</vt:lpstr>
      <vt:lpstr>OVERVIEW</vt:lpstr>
    </vt:vector>
  </TitlesOfParts>
  <Company>American Youth Policy Foru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rge Knowles</dc:creator>
  <cp:lastModifiedBy>George Knowles</cp:lastModifiedBy>
  <cp:revision>1</cp:revision>
  <dcterms:created xsi:type="dcterms:W3CDTF">2014-05-01T18:40:40Z</dcterms:created>
  <dcterms:modified xsi:type="dcterms:W3CDTF">2014-05-01T18:41:03Z</dcterms:modified>
</cp:coreProperties>
</file>